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681" r:id="rId3"/>
    <p:sldMasterId id="2147484123" r:id="rId4"/>
    <p:sldMasterId id="2147484329" r:id="rId5"/>
  </p:sldMasterIdLst>
  <p:notesMasterIdLst>
    <p:notesMasterId r:id="rId26"/>
  </p:notesMasterIdLst>
  <p:sldIdLst>
    <p:sldId id="855" r:id="rId6"/>
    <p:sldId id="308" r:id="rId7"/>
    <p:sldId id="314" r:id="rId8"/>
    <p:sldId id="316" r:id="rId9"/>
    <p:sldId id="322" r:id="rId10"/>
    <p:sldId id="285" r:id="rId11"/>
    <p:sldId id="276" r:id="rId12"/>
    <p:sldId id="351" r:id="rId13"/>
    <p:sldId id="334" r:id="rId14"/>
    <p:sldId id="339" r:id="rId15"/>
    <p:sldId id="356" r:id="rId16"/>
    <p:sldId id="274" r:id="rId17"/>
    <p:sldId id="355" r:id="rId18"/>
    <p:sldId id="260" r:id="rId19"/>
    <p:sldId id="262" r:id="rId20"/>
    <p:sldId id="275" r:id="rId21"/>
    <p:sldId id="357" r:id="rId22"/>
    <p:sldId id="311" r:id="rId23"/>
    <p:sldId id="327" r:id="rId24"/>
    <p:sldId id="281"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608A19-C3D3-43E6-860E-454302617F17}">
          <p14:sldIdLst>
            <p14:sldId id="855"/>
            <p14:sldId id="308"/>
            <p14:sldId id="314"/>
            <p14:sldId id="316"/>
            <p14:sldId id="322"/>
            <p14:sldId id="285"/>
            <p14:sldId id="276"/>
            <p14:sldId id="351"/>
            <p14:sldId id="334"/>
            <p14:sldId id="339"/>
            <p14:sldId id="356"/>
            <p14:sldId id="274"/>
            <p14:sldId id="355"/>
            <p14:sldId id="260"/>
            <p14:sldId id="262"/>
            <p14:sldId id="275"/>
            <p14:sldId id="357"/>
            <p14:sldId id="311"/>
            <p14:sldId id="327"/>
            <p14:sldId id="2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59" d="100"/>
          <a:sy n="59" d="100"/>
        </p:scale>
        <p:origin x="92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Marie Carrey" userId="f9afc4aa67827740" providerId="LiveId" clId="{89FC2E44-86AF-4521-902E-CA8F8113BB76}"/>
    <pc:docChg chg="modSld sldOrd">
      <pc:chgData name="Ann-Marie Carrey" userId="f9afc4aa67827740" providerId="LiveId" clId="{89FC2E44-86AF-4521-902E-CA8F8113BB76}" dt="2026-07-01T15:03:23.662" v="1"/>
      <pc:docMkLst>
        <pc:docMk/>
      </pc:docMkLst>
      <pc:sldChg chg="ord">
        <pc:chgData name="Ann-Marie Carrey" userId="f9afc4aa67827740" providerId="LiveId" clId="{89FC2E44-86AF-4521-902E-CA8F8113BB76}" dt="2026-07-01T15:03:23.662" v="1"/>
        <pc:sldMkLst>
          <pc:docMk/>
          <pc:sldMk cId="2960033342" sldId="327"/>
        </pc:sldMkLst>
      </pc:sldChg>
    </pc:docChg>
  </pc:docChgLst>
  <pc:docChgLst>
    <pc:chgData name="Ingrid Cruickshank" userId="5a5f459abdc2fb5c" providerId="LiveId" clId="{235A252F-ADF7-4EB3-AC49-03FD09E1C522}"/>
    <pc:docChg chg="delSld modSld delMainMaster modMainMaster delSection modSection">
      <pc:chgData name="Ingrid Cruickshank" userId="5a5f459abdc2fb5c" providerId="LiveId" clId="{235A252F-ADF7-4EB3-AC49-03FD09E1C522}" dt="2026-06-30T11:36:04.753" v="120" actId="2696"/>
      <pc:docMkLst>
        <pc:docMk/>
      </pc:docMkLst>
      <pc:sldChg chg="del">
        <pc:chgData name="Ingrid Cruickshank" userId="5a5f459abdc2fb5c" providerId="LiveId" clId="{235A252F-ADF7-4EB3-AC49-03FD09E1C522}" dt="2026-06-30T11:31:05.626" v="0" actId="47"/>
        <pc:sldMkLst>
          <pc:docMk/>
          <pc:sldMk cId="0" sldId="256"/>
        </pc:sldMkLst>
      </pc:sldChg>
      <pc:sldChg chg="del">
        <pc:chgData name="Ingrid Cruickshank" userId="5a5f459abdc2fb5c" providerId="LiveId" clId="{235A252F-ADF7-4EB3-AC49-03FD09E1C522}" dt="2026-06-30T11:32:13.041" v="75" actId="47"/>
        <pc:sldMkLst>
          <pc:docMk/>
          <pc:sldMk cId="554396670" sldId="257"/>
        </pc:sldMkLst>
      </pc:sldChg>
      <pc:sldChg chg="del">
        <pc:chgData name="Ingrid Cruickshank" userId="5a5f459abdc2fb5c" providerId="LiveId" clId="{235A252F-ADF7-4EB3-AC49-03FD09E1C522}" dt="2026-06-30T11:32:13.443" v="76" actId="47"/>
        <pc:sldMkLst>
          <pc:docMk/>
          <pc:sldMk cId="1385915067" sldId="258"/>
        </pc:sldMkLst>
      </pc:sldChg>
      <pc:sldChg chg="del">
        <pc:chgData name="Ingrid Cruickshank" userId="5a5f459abdc2fb5c" providerId="LiveId" clId="{235A252F-ADF7-4EB3-AC49-03FD09E1C522}" dt="2026-06-30T11:32:13.781" v="77" actId="47"/>
        <pc:sldMkLst>
          <pc:docMk/>
          <pc:sldMk cId="1551731210" sldId="259"/>
        </pc:sldMkLst>
      </pc:sldChg>
      <pc:sldChg chg="mod modShow">
        <pc:chgData name="Ingrid Cruickshank" userId="5a5f459abdc2fb5c" providerId="LiveId" clId="{235A252F-ADF7-4EB3-AC49-03FD09E1C522}" dt="2026-06-30T11:31:33.478" v="7" actId="34476"/>
        <pc:sldMkLst>
          <pc:docMk/>
          <pc:sldMk cId="0" sldId="260"/>
        </pc:sldMkLst>
      </pc:sldChg>
      <pc:sldChg chg="del">
        <pc:chgData name="Ingrid Cruickshank" userId="5a5f459abdc2fb5c" providerId="LiveId" clId="{235A252F-ADF7-4EB3-AC49-03FD09E1C522}" dt="2026-06-30T11:32:14.357" v="79" actId="47"/>
        <pc:sldMkLst>
          <pc:docMk/>
          <pc:sldMk cId="3887006006" sldId="261"/>
        </pc:sldMkLst>
      </pc:sldChg>
      <pc:sldChg chg="del">
        <pc:chgData name="Ingrid Cruickshank" userId="5a5f459abdc2fb5c" providerId="LiveId" clId="{235A252F-ADF7-4EB3-AC49-03FD09E1C522}" dt="2026-06-30T11:32:14.918" v="81" actId="47"/>
        <pc:sldMkLst>
          <pc:docMk/>
          <pc:sldMk cId="1053284947" sldId="263"/>
        </pc:sldMkLst>
      </pc:sldChg>
      <pc:sldChg chg="del">
        <pc:chgData name="Ingrid Cruickshank" userId="5a5f459abdc2fb5c" providerId="LiveId" clId="{235A252F-ADF7-4EB3-AC49-03FD09E1C522}" dt="2026-06-30T11:32:15.351" v="82" actId="47"/>
        <pc:sldMkLst>
          <pc:docMk/>
          <pc:sldMk cId="2189273140" sldId="264"/>
        </pc:sldMkLst>
      </pc:sldChg>
      <pc:sldChg chg="del">
        <pc:chgData name="Ingrid Cruickshank" userId="5a5f459abdc2fb5c" providerId="LiveId" clId="{235A252F-ADF7-4EB3-AC49-03FD09E1C522}" dt="2026-06-30T11:31:57.934" v="26" actId="47"/>
        <pc:sldMkLst>
          <pc:docMk/>
          <pc:sldMk cId="2630816005" sldId="265"/>
        </pc:sldMkLst>
      </pc:sldChg>
      <pc:sldChg chg="del">
        <pc:chgData name="Ingrid Cruickshank" userId="5a5f459abdc2fb5c" providerId="LiveId" clId="{235A252F-ADF7-4EB3-AC49-03FD09E1C522}" dt="2026-06-30T11:31:52.738" v="14" actId="47"/>
        <pc:sldMkLst>
          <pc:docMk/>
          <pc:sldMk cId="2025029952" sldId="266"/>
        </pc:sldMkLst>
      </pc:sldChg>
      <pc:sldChg chg="del">
        <pc:chgData name="Ingrid Cruickshank" userId="5a5f459abdc2fb5c" providerId="LiveId" clId="{235A252F-ADF7-4EB3-AC49-03FD09E1C522}" dt="2026-06-30T11:31:54.057" v="17" actId="47"/>
        <pc:sldMkLst>
          <pc:docMk/>
          <pc:sldMk cId="400228727" sldId="267"/>
        </pc:sldMkLst>
      </pc:sldChg>
      <pc:sldChg chg="del">
        <pc:chgData name="Ingrid Cruickshank" userId="5a5f459abdc2fb5c" providerId="LiveId" clId="{235A252F-ADF7-4EB3-AC49-03FD09E1C522}" dt="2026-06-30T11:31:54.551" v="18" actId="47"/>
        <pc:sldMkLst>
          <pc:docMk/>
          <pc:sldMk cId="1874796440" sldId="268"/>
        </pc:sldMkLst>
      </pc:sldChg>
      <pc:sldChg chg="del">
        <pc:chgData name="Ingrid Cruickshank" userId="5a5f459abdc2fb5c" providerId="LiveId" clId="{235A252F-ADF7-4EB3-AC49-03FD09E1C522}" dt="2026-06-30T11:31:58.220" v="27" actId="47"/>
        <pc:sldMkLst>
          <pc:docMk/>
          <pc:sldMk cId="3559976796" sldId="269"/>
        </pc:sldMkLst>
      </pc:sldChg>
      <pc:sldChg chg="del">
        <pc:chgData name="Ingrid Cruickshank" userId="5a5f459abdc2fb5c" providerId="LiveId" clId="{235A252F-ADF7-4EB3-AC49-03FD09E1C522}" dt="2026-06-30T11:32:00.219" v="35" actId="47"/>
        <pc:sldMkLst>
          <pc:docMk/>
          <pc:sldMk cId="577439753" sldId="270"/>
        </pc:sldMkLst>
      </pc:sldChg>
      <pc:sldChg chg="del">
        <pc:chgData name="Ingrid Cruickshank" userId="5a5f459abdc2fb5c" providerId="LiveId" clId="{235A252F-ADF7-4EB3-AC49-03FD09E1C522}" dt="2026-06-30T11:32:00.519" v="36" actId="47"/>
        <pc:sldMkLst>
          <pc:docMk/>
          <pc:sldMk cId="372013274" sldId="271"/>
        </pc:sldMkLst>
      </pc:sldChg>
      <pc:sldChg chg="del">
        <pc:chgData name="Ingrid Cruickshank" userId="5a5f459abdc2fb5c" providerId="LiveId" clId="{235A252F-ADF7-4EB3-AC49-03FD09E1C522}" dt="2026-06-30T11:32:01.035" v="38" actId="47"/>
        <pc:sldMkLst>
          <pc:docMk/>
          <pc:sldMk cId="233541495" sldId="272"/>
        </pc:sldMkLst>
      </pc:sldChg>
      <pc:sldChg chg="del">
        <pc:chgData name="Ingrid Cruickshank" userId="5a5f459abdc2fb5c" providerId="LiveId" clId="{235A252F-ADF7-4EB3-AC49-03FD09E1C522}" dt="2026-06-30T11:32:01.341" v="39" actId="47"/>
        <pc:sldMkLst>
          <pc:docMk/>
          <pc:sldMk cId="3782206283" sldId="273"/>
        </pc:sldMkLst>
      </pc:sldChg>
      <pc:sldChg chg="mod modShow">
        <pc:chgData name="Ingrid Cruickshank" userId="5a5f459abdc2fb5c" providerId="LiveId" clId="{235A252F-ADF7-4EB3-AC49-03FD09E1C522}" dt="2026-06-30T11:31:39.105" v="8" actId="34476"/>
        <pc:sldMkLst>
          <pc:docMk/>
          <pc:sldMk cId="0" sldId="275"/>
        </pc:sldMkLst>
      </pc:sldChg>
      <pc:sldChg chg="del">
        <pc:chgData name="Ingrid Cruickshank" userId="5a5f459abdc2fb5c" providerId="LiveId" clId="{235A252F-ADF7-4EB3-AC49-03FD09E1C522}" dt="2026-06-30T11:32:16.966" v="86" actId="47"/>
        <pc:sldMkLst>
          <pc:docMk/>
          <pc:sldMk cId="2509463372" sldId="277"/>
        </pc:sldMkLst>
      </pc:sldChg>
      <pc:sldChg chg="del">
        <pc:chgData name="Ingrid Cruickshank" userId="5a5f459abdc2fb5c" providerId="LiveId" clId="{235A252F-ADF7-4EB3-AC49-03FD09E1C522}" dt="2026-06-30T11:32:17.266" v="87" actId="47"/>
        <pc:sldMkLst>
          <pc:docMk/>
          <pc:sldMk cId="1901488047" sldId="278"/>
        </pc:sldMkLst>
      </pc:sldChg>
      <pc:sldChg chg="del">
        <pc:chgData name="Ingrid Cruickshank" userId="5a5f459abdc2fb5c" providerId="LiveId" clId="{235A252F-ADF7-4EB3-AC49-03FD09E1C522}" dt="2026-06-30T11:32:01.822" v="41" actId="47"/>
        <pc:sldMkLst>
          <pc:docMk/>
          <pc:sldMk cId="3545903549" sldId="279"/>
        </pc:sldMkLst>
      </pc:sldChg>
      <pc:sldChg chg="del">
        <pc:chgData name="Ingrid Cruickshank" userId="5a5f459abdc2fb5c" providerId="LiveId" clId="{235A252F-ADF7-4EB3-AC49-03FD09E1C522}" dt="2026-06-30T11:32:23.594" v="99" actId="47"/>
        <pc:sldMkLst>
          <pc:docMk/>
          <pc:sldMk cId="833931654" sldId="280"/>
        </pc:sldMkLst>
      </pc:sldChg>
      <pc:sldChg chg="del">
        <pc:chgData name="Ingrid Cruickshank" userId="5a5f459abdc2fb5c" providerId="LiveId" clId="{235A252F-ADF7-4EB3-AC49-03FD09E1C522}" dt="2026-06-30T11:32:06.209" v="54" actId="47"/>
        <pc:sldMkLst>
          <pc:docMk/>
          <pc:sldMk cId="3838327711" sldId="282"/>
        </pc:sldMkLst>
      </pc:sldChg>
      <pc:sldChg chg="del">
        <pc:chgData name="Ingrid Cruickshank" userId="5a5f459abdc2fb5c" providerId="LiveId" clId="{235A252F-ADF7-4EB3-AC49-03FD09E1C522}" dt="2026-06-30T11:32:07.593" v="58" actId="47"/>
        <pc:sldMkLst>
          <pc:docMk/>
          <pc:sldMk cId="2599453373" sldId="283"/>
        </pc:sldMkLst>
      </pc:sldChg>
      <pc:sldChg chg="del">
        <pc:chgData name="Ingrid Cruickshank" userId="5a5f459abdc2fb5c" providerId="LiveId" clId="{235A252F-ADF7-4EB3-AC49-03FD09E1C522}" dt="2026-06-30T11:32:30.643" v="110" actId="47"/>
        <pc:sldMkLst>
          <pc:docMk/>
          <pc:sldMk cId="1283236512" sldId="284"/>
        </pc:sldMkLst>
      </pc:sldChg>
      <pc:sldChg chg="mod modShow">
        <pc:chgData name="Ingrid Cruickshank" userId="5a5f459abdc2fb5c" providerId="LiveId" clId="{235A252F-ADF7-4EB3-AC49-03FD09E1C522}" dt="2026-06-30T11:31:22.558" v="5" actId="34476"/>
        <pc:sldMkLst>
          <pc:docMk/>
          <pc:sldMk cId="1103028174" sldId="285"/>
        </pc:sldMkLst>
      </pc:sldChg>
      <pc:sldChg chg="del">
        <pc:chgData name="Ingrid Cruickshank" userId="5a5f459abdc2fb5c" providerId="LiveId" clId="{235A252F-ADF7-4EB3-AC49-03FD09E1C522}" dt="2026-06-30T11:32:05.807" v="53" actId="47"/>
        <pc:sldMkLst>
          <pc:docMk/>
          <pc:sldMk cId="2629797643" sldId="287"/>
        </pc:sldMkLst>
      </pc:sldChg>
      <pc:sldChg chg="del">
        <pc:chgData name="Ingrid Cruickshank" userId="5a5f459abdc2fb5c" providerId="LiveId" clId="{235A252F-ADF7-4EB3-AC49-03FD09E1C522}" dt="2026-06-30T11:32:04.771" v="51" actId="47"/>
        <pc:sldMkLst>
          <pc:docMk/>
          <pc:sldMk cId="2611989352" sldId="289"/>
        </pc:sldMkLst>
      </pc:sldChg>
      <pc:sldChg chg="del">
        <pc:chgData name="Ingrid Cruickshank" userId="5a5f459abdc2fb5c" providerId="LiveId" clId="{235A252F-ADF7-4EB3-AC49-03FD09E1C522}" dt="2026-06-30T11:32:02.371" v="43" actId="47"/>
        <pc:sldMkLst>
          <pc:docMk/>
          <pc:sldMk cId="1525479594" sldId="290"/>
        </pc:sldMkLst>
      </pc:sldChg>
      <pc:sldChg chg="del">
        <pc:chgData name="Ingrid Cruickshank" userId="5a5f459abdc2fb5c" providerId="LiveId" clId="{235A252F-ADF7-4EB3-AC49-03FD09E1C522}" dt="2026-06-30T11:32:05.471" v="52" actId="47"/>
        <pc:sldMkLst>
          <pc:docMk/>
          <pc:sldMk cId="1692538755" sldId="293"/>
        </pc:sldMkLst>
      </pc:sldChg>
      <pc:sldChg chg="del">
        <pc:chgData name="Ingrid Cruickshank" userId="5a5f459abdc2fb5c" providerId="LiveId" clId="{235A252F-ADF7-4EB3-AC49-03FD09E1C522}" dt="2026-06-30T11:32:03.283" v="47" actId="47"/>
        <pc:sldMkLst>
          <pc:docMk/>
          <pc:sldMk cId="4159889381" sldId="295"/>
        </pc:sldMkLst>
      </pc:sldChg>
      <pc:sldChg chg="del">
        <pc:chgData name="Ingrid Cruickshank" userId="5a5f459abdc2fb5c" providerId="LiveId" clId="{235A252F-ADF7-4EB3-AC49-03FD09E1C522}" dt="2026-06-30T11:32:18.524" v="90" actId="47"/>
        <pc:sldMkLst>
          <pc:docMk/>
          <pc:sldMk cId="3245264935" sldId="297"/>
        </pc:sldMkLst>
      </pc:sldChg>
      <pc:sldChg chg="del">
        <pc:chgData name="Ingrid Cruickshank" userId="5a5f459abdc2fb5c" providerId="LiveId" clId="{235A252F-ADF7-4EB3-AC49-03FD09E1C522}" dt="2026-06-30T11:32:18.100" v="89" actId="47"/>
        <pc:sldMkLst>
          <pc:docMk/>
          <pc:sldMk cId="2312756081" sldId="300"/>
        </pc:sldMkLst>
      </pc:sldChg>
      <pc:sldChg chg="del">
        <pc:chgData name="Ingrid Cruickshank" userId="5a5f459abdc2fb5c" providerId="LiveId" clId="{235A252F-ADF7-4EB3-AC49-03FD09E1C522}" dt="2026-06-30T11:31:50.046" v="10" actId="47"/>
        <pc:sldMkLst>
          <pc:docMk/>
          <pc:sldMk cId="4077493381" sldId="301"/>
        </pc:sldMkLst>
      </pc:sldChg>
      <pc:sldChg chg="mod modShow">
        <pc:chgData name="Ingrid Cruickshank" userId="5a5f459abdc2fb5c" providerId="LiveId" clId="{235A252F-ADF7-4EB3-AC49-03FD09E1C522}" dt="2026-06-30T11:31:27.543" v="6" actId="34476"/>
        <pc:sldMkLst>
          <pc:docMk/>
          <pc:sldMk cId="387867853" sldId="339"/>
        </pc:sldMkLst>
      </pc:sldChg>
      <pc:sldChg chg="del">
        <pc:chgData name="Ingrid Cruickshank" userId="5a5f459abdc2fb5c" providerId="LiveId" clId="{235A252F-ADF7-4EB3-AC49-03FD09E1C522}" dt="2026-06-30T11:31:07.919" v="2" actId="47"/>
        <pc:sldMkLst>
          <pc:docMk/>
          <pc:sldMk cId="4227834764" sldId="858"/>
        </pc:sldMkLst>
      </pc:sldChg>
      <pc:sldChg chg="del">
        <pc:chgData name="Ingrid Cruickshank" userId="5a5f459abdc2fb5c" providerId="LiveId" clId="{235A252F-ADF7-4EB3-AC49-03FD09E1C522}" dt="2026-06-30T11:31:07.147" v="1" actId="47"/>
        <pc:sldMkLst>
          <pc:docMk/>
          <pc:sldMk cId="1575564731" sldId="859"/>
        </pc:sldMkLst>
      </pc:sldChg>
      <pc:sldChg chg="del">
        <pc:chgData name="Ingrid Cruickshank" userId="5a5f459abdc2fb5c" providerId="LiveId" clId="{235A252F-ADF7-4EB3-AC49-03FD09E1C522}" dt="2026-06-30T11:31:48.177" v="9" actId="47"/>
        <pc:sldMkLst>
          <pc:docMk/>
          <pc:sldMk cId="2645212080" sldId="861"/>
        </pc:sldMkLst>
      </pc:sldChg>
      <pc:sldChg chg="del">
        <pc:chgData name="Ingrid Cruickshank" userId="5a5f459abdc2fb5c" providerId="LiveId" clId="{235A252F-ADF7-4EB3-AC49-03FD09E1C522}" dt="2026-06-30T11:32:09.174" v="62" actId="47"/>
        <pc:sldMkLst>
          <pc:docMk/>
          <pc:sldMk cId="1394825018" sldId="862"/>
        </pc:sldMkLst>
      </pc:sldChg>
      <pc:sldChg chg="del">
        <pc:chgData name="Ingrid Cruickshank" userId="5a5f459abdc2fb5c" providerId="LiveId" clId="{235A252F-ADF7-4EB3-AC49-03FD09E1C522}" dt="2026-06-30T11:32:11.768" v="72" actId="47"/>
        <pc:sldMkLst>
          <pc:docMk/>
          <pc:sldMk cId="1590370132" sldId="863"/>
        </pc:sldMkLst>
      </pc:sldChg>
      <pc:sldChg chg="del">
        <pc:chgData name="Ingrid Cruickshank" userId="5a5f459abdc2fb5c" providerId="LiveId" clId="{235A252F-ADF7-4EB3-AC49-03FD09E1C522}" dt="2026-06-30T11:32:07.890" v="59" actId="47"/>
        <pc:sldMkLst>
          <pc:docMk/>
          <pc:sldMk cId="3031595542" sldId="864"/>
        </pc:sldMkLst>
      </pc:sldChg>
      <pc:sldChg chg="del">
        <pc:chgData name="Ingrid Cruickshank" userId="5a5f459abdc2fb5c" providerId="LiveId" clId="{235A252F-ADF7-4EB3-AC49-03FD09E1C522}" dt="2026-06-30T11:32:08.208" v="60" actId="47"/>
        <pc:sldMkLst>
          <pc:docMk/>
          <pc:sldMk cId="2214776541" sldId="865"/>
        </pc:sldMkLst>
      </pc:sldChg>
      <pc:sldChg chg="del">
        <pc:chgData name="Ingrid Cruickshank" userId="5a5f459abdc2fb5c" providerId="LiveId" clId="{235A252F-ADF7-4EB3-AC49-03FD09E1C522}" dt="2026-06-30T11:32:12.478" v="74" actId="47"/>
        <pc:sldMkLst>
          <pc:docMk/>
          <pc:sldMk cId="2600234742" sldId="866"/>
        </pc:sldMkLst>
      </pc:sldChg>
      <pc:sldChg chg="del">
        <pc:chgData name="Ingrid Cruickshank" userId="5a5f459abdc2fb5c" providerId="LiveId" clId="{235A252F-ADF7-4EB3-AC49-03FD09E1C522}" dt="2026-06-30T11:32:31.879" v="111" actId="47"/>
        <pc:sldMkLst>
          <pc:docMk/>
          <pc:sldMk cId="2411336385" sldId="867"/>
        </pc:sldMkLst>
      </pc:sldChg>
      <pc:sldChg chg="del">
        <pc:chgData name="Ingrid Cruickshank" userId="5a5f459abdc2fb5c" providerId="LiveId" clId="{235A252F-ADF7-4EB3-AC49-03FD09E1C522}" dt="2026-06-30T11:36:04.753" v="120" actId="2696"/>
        <pc:sldMkLst>
          <pc:docMk/>
          <pc:sldMk cId="2645673869" sldId="869"/>
        </pc:sldMkLst>
      </pc:sldChg>
      <pc:sldChg chg="del">
        <pc:chgData name="Ingrid Cruickshank" userId="5a5f459abdc2fb5c" providerId="LiveId" clId="{235A252F-ADF7-4EB3-AC49-03FD09E1C522}" dt="2026-06-30T11:32:32.409" v="112" actId="47"/>
        <pc:sldMkLst>
          <pc:docMk/>
          <pc:sldMk cId="3568417633" sldId="870"/>
        </pc:sldMkLst>
      </pc:sldChg>
      <pc:sldChg chg="del">
        <pc:chgData name="Ingrid Cruickshank" userId="5a5f459abdc2fb5c" providerId="LiveId" clId="{235A252F-ADF7-4EB3-AC49-03FD09E1C522}" dt="2026-06-30T11:32:08.590" v="61" actId="47"/>
        <pc:sldMkLst>
          <pc:docMk/>
          <pc:sldMk cId="61955225" sldId="871"/>
        </pc:sldMkLst>
      </pc:sldChg>
      <pc:sldChg chg="del">
        <pc:chgData name="Ingrid Cruickshank" userId="5a5f459abdc2fb5c" providerId="LiveId" clId="{235A252F-ADF7-4EB3-AC49-03FD09E1C522}" dt="2026-06-30T11:32:12.016" v="73" actId="47"/>
        <pc:sldMkLst>
          <pc:docMk/>
          <pc:sldMk cId="541659885" sldId="872"/>
        </pc:sldMkLst>
      </pc:sldChg>
      <pc:sldChg chg="del">
        <pc:chgData name="Ingrid Cruickshank" userId="5a5f459abdc2fb5c" providerId="LiveId" clId="{235A252F-ADF7-4EB3-AC49-03FD09E1C522}" dt="2026-06-30T11:32:16.081" v="84" actId="47"/>
        <pc:sldMkLst>
          <pc:docMk/>
          <pc:sldMk cId="756490795" sldId="885"/>
        </pc:sldMkLst>
      </pc:sldChg>
      <pc:sldChg chg="del">
        <pc:chgData name="Ingrid Cruickshank" userId="5a5f459abdc2fb5c" providerId="LiveId" clId="{235A252F-ADF7-4EB3-AC49-03FD09E1C522}" dt="2026-06-30T11:32:14.063" v="78" actId="47"/>
        <pc:sldMkLst>
          <pc:docMk/>
          <pc:sldMk cId="1738021900" sldId="886"/>
        </pc:sldMkLst>
      </pc:sldChg>
      <pc:sldChg chg="del">
        <pc:chgData name="Ingrid Cruickshank" userId="5a5f459abdc2fb5c" providerId="LiveId" clId="{235A252F-ADF7-4EB3-AC49-03FD09E1C522}" dt="2026-06-30T11:32:14.630" v="80" actId="47"/>
        <pc:sldMkLst>
          <pc:docMk/>
          <pc:sldMk cId="2826751776" sldId="887"/>
        </pc:sldMkLst>
      </pc:sldChg>
      <pc:sldChg chg="del">
        <pc:chgData name="Ingrid Cruickshank" userId="5a5f459abdc2fb5c" providerId="LiveId" clId="{235A252F-ADF7-4EB3-AC49-03FD09E1C522}" dt="2026-06-30T11:32:15.716" v="83" actId="47"/>
        <pc:sldMkLst>
          <pc:docMk/>
          <pc:sldMk cId="3508325477" sldId="888"/>
        </pc:sldMkLst>
      </pc:sldChg>
      <pc:sldChg chg="del">
        <pc:chgData name="Ingrid Cruickshank" userId="5a5f459abdc2fb5c" providerId="LiveId" clId="{235A252F-ADF7-4EB3-AC49-03FD09E1C522}" dt="2026-06-30T11:32:09.432" v="63" actId="47"/>
        <pc:sldMkLst>
          <pc:docMk/>
          <pc:sldMk cId="2219798921" sldId="898"/>
        </pc:sldMkLst>
      </pc:sldChg>
      <pc:sldChg chg="del">
        <pc:chgData name="Ingrid Cruickshank" userId="5a5f459abdc2fb5c" providerId="LiveId" clId="{235A252F-ADF7-4EB3-AC49-03FD09E1C522}" dt="2026-06-30T11:32:09.713" v="64" actId="47"/>
        <pc:sldMkLst>
          <pc:docMk/>
          <pc:sldMk cId="428595023" sldId="899"/>
        </pc:sldMkLst>
      </pc:sldChg>
      <pc:sldChg chg="del">
        <pc:chgData name="Ingrid Cruickshank" userId="5a5f459abdc2fb5c" providerId="LiveId" clId="{235A252F-ADF7-4EB3-AC49-03FD09E1C522}" dt="2026-06-30T11:32:09.843" v="65" actId="47"/>
        <pc:sldMkLst>
          <pc:docMk/>
          <pc:sldMk cId="2817867737" sldId="900"/>
        </pc:sldMkLst>
      </pc:sldChg>
      <pc:sldChg chg="del">
        <pc:chgData name="Ingrid Cruickshank" userId="5a5f459abdc2fb5c" providerId="LiveId" clId="{235A252F-ADF7-4EB3-AC49-03FD09E1C522}" dt="2026-06-30T11:32:10.095" v="66" actId="47"/>
        <pc:sldMkLst>
          <pc:docMk/>
          <pc:sldMk cId="3207131060" sldId="901"/>
        </pc:sldMkLst>
      </pc:sldChg>
      <pc:sldChg chg="del">
        <pc:chgData name="Ingrid Cruickshank" userId="5a5f459abdc2fb5c" providerId="LiveId" clId="{235A252F-ADF7-4EB3-AC49-03FD09E1C522}" dt="2026-06-30T11:32:10.350" v="67" actId="47"/>
        <pc:sldMkLst>
          <pc:docMk/>
          <pc:sldMk cId="1287426953" sldId="902"/>
        </pc:sldMkLst>
      </pc:sldChg>
      <pc:sldChg chg="del">
        <pc:chgData name="Ingrid Cruickshank" userId="5a5f459abdc2fb5c" providerId="LiveId" clId="{235A252F-ADF7-4EB3-AC49-03FD09E1C522}" dt="2026-06-30T11:32:10.521" v="68" actId="47"/>
        <pc:sldMkLst>
          <pc:docMk/>
          <pc:sldMk cId="3620986839" sldId="903"/>
        </pc:sldMkLst>
      </pc:sldChg>
      <pc:sldChg chg="del">
        <pc:chgData name="Ingrid Cruickshank" userId="5a5f459abdc2fb5c" providerId="LiveId" clId="{235A252F-ADF7-4EB3-AC49-03FD09E1C522}" dt="2026-06-30T11:32:10.674" v="69" actId="47"/>
        <pc:sldMkLst>
          <pc:docMk/>
          <pc:sldMk cId="92330406" sldId="904"/>
        </pc:sldMkLst>
      </pc:sldChg>
      <pc:sldChg chg="del">
        <pc:chgData name="Ingrid Cruickshank" userId="5a5f459abdc2fb5c" providerId="LiveId" clId="{235A252F-ADF7-4EB3-AC49-03FD09E1C522}" dt="2026-06-30T11:32:11.127" v="70" actId="47"/>
        <pc:sldMkLst>
          <pc:docMk/>
          <pc:sldMk cId="1373951903" sldId="905"/>
        </pc:sldMkLst>
      </pc:sldChg>
      <pc:sldChg chg="del">
        <pc:chgData name="Ingrid Cruickshank" userId="5a5f459abdc2fb5c" providerId="LiveId" clId="{235A252F-ADF7-4EB3-AC49-03FD09E1C522}" dt="2026-06-30T11:32:11.461" v="71" actId="47"/>
        <pc:sldMkLst>
          <pc:docMk/>
          <pc:sldMk cId="399411154" sldId="906"/>
        </pc:sldMkLst>
      </pc:sldChg>
      <pc:sldChg chg="del">
        <pc:chgData name="Ingrid Cruickshank" userId="5a5f459abdc2fb5c" providerId="LiveId" clId="{235A252F-ADF7-4EB3-AC49-03FD09E1C522}" dt="2026-06-30T11:32:02.067" v="42" actId="47"/>
        <pc:sldMkLst>
          <pc:docMk/>
          <pc:sldMk cId="159482120" sldId="907"/>
        </pc:sldMkLst>
      </pc:sldChg>
      <pc:sldChg chg="del">
        <pc:chgData name="Ingrid Cruickshank" userId="5a5f459abdc2fb5c" providerId="LiveId" clId="{235A252F-ADF7-4EB3-AC49-03FD09E1C522}" dt="2026-06-30T11:32:01.579" v="40" actId="47"/>
        <pc:sldMkLst>
          <pc:docMk/>
          <pc:sldMk cId="3423514903" sldId="5375"/>
        </pc:sldMkLst>
      </pc:sldChg>
      <pc:sldChg chg="del">
        <pc:chgData name="Ingrid Cruickshank" userId="5a5f459abdc2fb5c" providerId="LiveId" clId="{235A252F-ADF7-4EB3-AC49-03FD09E1C522}" dt="2026-06-30T11:31:59.730" v="33" actId="47"/>
        <pc:sldMkLst>
          <pc:docMk/>
          <pc:sldMk cId="1334184675" sldId="2147470846"/>
        </pc:sldMkLst>
      </pc:sldChg>
      <pc:sldChg chg="del">
        <pc:chgData name="Ingrid Cruickshank" userId="5a5f459abdc2fb5c" providerId="LiveId" clId="{235A252F-ADF7-4EB3-AC49-03FD09E1C522}" dt="2026-06-30T11:31:58.604" v="30" actId="47"/>
        <pc:sldMkLst>
          <pc:docMk/>
          <pc:sldMk cId="3242855288" sldId="2147470853"/>
        </pc:sldMkLst>
      </pc:sldChg>
      <pc:sldChg chg="del">
        <pc:chgData name="Ingrid Cruickshank" userId="5a5f459abdc2fb5c" providerId="LiveId" clId="{235A252F-ADF7-4EB3-AC49-03FD09E1C522}" dt="2026-06-30T11:31:51.246" v="12" actId="47"/>
        <pc:sldMkLst>
          <pc:docMk/>
          <pc:sldMk cId="2068108807" sldId="2147471490"/>
        </pc:sldMkLst>
      </pc:sldChg>
      <pc:sldChg chg="del">
        <pc:chgData name="Ingrid Cruickshank" userId="5a5f459abdc2fb5c" providerId="LiveId" clId="{235A252F-ADF7-4EB3-AC49-03FD09E1C522}" dt="2026-06-30T11:32:24.830" v="101" actId="47"/>
        <pc:sldMkLst>
          <pc:docMk/>
          <pc:sldMk cId="3152684661" sldId="2147471930"/>
        </pc:sldMkLst>
      </pc:sldChg>
      <pc:sldChg chg="del">
        <pc:chgData name="Ingrid Cruickshank" userId="5a5f459abdc2fb5c" providerId="LiveId" clId="{235A252F-ADF7-4EB3-AC49-03FD09E1C522}" dt="2026-06-30T11:32:27.600" v="104" actId="47"/>
        <pc:sldMkLst>
          <pc:docMk/>
          <pc:sldMk cId="2486878026" sldId="2147471936"/>
        </pc:sldMkLst>
      </pc:sldChg>
      <pc:sldChg chg="del">
        <pc:chgData name="Ingrid Cruickshank" userId="5a5f459abdc2fb5c" providerId="LiveId" clId="{235A252F-ADF7-4EB3-AC49-03FD09E1C522}" dt="2026-06-30T11:32:28.092" v="105" actId="47"/>
        <pc:sldMkLst>
          <pc:docMk/>
          <pc:sldMk cId="4164887111" sldId="2147471945"/>
        </pc:sldMkLst>
      </pc:sldChg>
      <pc:sldChg chg="del">
        <pc:chgData name="Ingrid Cruickshank" userId="5a5f459abdc2fb5c" providerId="LiveId" clId="{235A252F-ADF7-4EB3-AC49-03FD09E1C522}" dt="2026-06-30T11:32:03.546" v="48" actId="47"/>
        <pc:sldMkLst>
          <pc:docMk/>
          <pc:sldMk cId="17066206" sldId="2147471946"/>
        </pc:sldMkLst>
      </pc:sldChg>
      <pc:sldChg chg="del">
        <pc:chgData name="Ingrid Cruickshank" userId="5a5f459abdc2fb5c" providerId="LiveId" clId="{235A252F-ADF7-4EB3-AC49-03FD09E1C522}" dt="2026-06-30T11:32:03.838" v="49" actId="47"/>
        <pc:sldMkLst>
          <pc:docMk/>
          <pc:sldMk cId="225268198" sldId="2147471947"/>
        </pc:sldMkLst>
      </pc:sldChg>
      <pc:sldChg chg="del">
        <pc:chgData name="Ingrid Cruickshank" userId="5a5f459abdc2fb5c" providerId="LiveId" clId="{235A252F-ADF7-4EB3-AC49-03FD09E1C522}" dt="2026-06-30T11:32:04.165" v="50" actId="47"/>
        <pc:sldMkLst>
          <pc:docMk/>
          <pc:sldMk cId="2580931107" sldId="2147471948"/>
        </pc:sldMkLst>
      </pc:sldChg>
      <pc:sldChg chg="del">
        <pc:chgData name="Ingrid Cruickshank" userId="5a5f459abdc2fb5c" providerId="LiveId" clId="{235A252F-ADF7-4EB3-AC49-03FD09E1C522}" dt="2026-06-30T11:32:02.573" v="44" actId="47"/>
        <pc:sldMkLst>
          <pc:docMk/>
          <pc:sldMk cId="2875805061" sldId="2147471949"/>
        </pc:sldMkLst>
      </pc:sldChg>
      <pc:sldChg chg="del">
        <pc:chgData name="Ingrid Cruickshank" userId="5a5f459abdc2fb5c" providerId="LiveId" clId="{235A252F-ADF7-4EB3-AC49-03FD09E1C522}" dt="2026-06-30T11:32:02.812" v="45" actId="47"/>
        <pc:sldMkLst>
          <pc:docMk/>
          <pc:sldMk cId="3753964592" sldId="2147471950"/>
        </pc:sldMkLst>
      </pc:sldChg>
      <pc:sldChg chg="del">
        <pc:chgData name="Ingrid Cruickshank" userId="5a5f459abdc2fb5c" providerId="LiveId" clId="{235A252F-ADF7-4EB3-AC49-03FD09E1C522}" dt="2026-06-30T11:32:03.009" v="46" actId="47"/>
        <pc:sldMkLst>
          <pc:docMk/>
          <pc:sldMk cId="3375203543" sldId="2147471951"/>
        </pc:sldMkLst>
      </pc:sldChg>
      <pc:sldChg chg="del">
        <pc:chgData name="Ingrid Cruickshank" userId="5a5f459abdc2fb5c" providerId="LiveId" clId="{235A252F-ADF7-4EB3-AC49-03FD09E1C522}" dt="2026-06-30T11:32:20.067" v="93" actId="47"/>
        <pc:sldMkLst>
          <pc:docMk/>
          <pc:sldMk cId="1384949499" sldId="2147471960"/>
        </pc:sldMkLst>
      </pc:sldChg>
      <pc:sldChg chg="del">
        <pc:chgData name="Ingrid Cruickshank" userId="5a5f459abdc2fb5c" providerId="LiveId" clId="{235A252F-ADF7-4EB3-AC49-03FD09E1C522}" dt="2026-06-30T11:32:25.792" v="102" actId="47"/>
        <pc:sldMkLst>
          <pc:docMk/>
          <pc:sldMk cId="1160890743" sldId="2147471963"/>
        </pc:sldMkLst>
      </pc:sldChg>
      <pc:sldChg chg="del">
        <pc:chgData name="Ingrid Cruickshank" userId="5a5f459abdc2fb5c" providerId="LiveId" clId="{235A252F-ADF7-4EB3-AC49-03FD09E1C522}" dt="2026-06-30T11:32:21.136" v="95" actId="47"/>
        <pc:sldMkLst>
          <pc:docMk/>
          <pc:sldMk cId="4154207118" sldId="2147471965"/>
        </pc:sldMkLst>
      </pc:sldChg>
      <pc:sldChg chg="del">
        <pc:chgData name="Ingrid Cruickshank" userId="5a5f459abdc2fb5c" providerId="LiveId" clId="{235A252F-ADF7-4EB3-AC49-03FD09E1C522}" dt="2026-06-30T11:32:18.968" v="91" actId="47"/>
        <pc:sldMkLst>
          <pc:docMk/>
          <pc:sldMk cId="1611773862" sldId="2147471966"/>
        </pc:sldMkLst>
      </pc:sldChg>
      <pc:sldChg chg="del">
        <pc:chgData name="Ingrid Cruickshank" userId="5a5f459abdc2fb5c" providerId="LiveId" clId="{235A252F-ADF7-4EB3-AC49-03FD09E1C522}" dt="2026-06-30T11:32:24.160" v="100" actId="47"/>
        <pc:sldMkLst>
          <pc:docMk/>
          <pc:sldMk cId="2547724125" sldId="2147471967"/>
        </pc:sldMkLst>
      </pc:sldChg>
      <pc:sldChg chg="del">
        <pc:chgData name="Ingrid Cruickshank" userId="5a5f459abdc2fb5c" providerId="LiveId" clId="{235A252F-ADF7-4EB3-AC49-03FD09E1C522}" dt="2026-06-30T11:32:26.353" v="103" actId="47"/>
        <pc:sldMkLst>
          <pc:docMk/>
          <pc:sldMk cId="1355722819" sldId="2147471968"/>
        </pc:sldMkLst>
      </pc:sldChg>
      <pc:sldChg chg="del">
        <pc:chgData name="Ingrid Cruickshank" userId="5a5f459abdc2fb5c" providerId="LiveId" clId="{235A252F-ADF7-4EB3-AC49-03FD09E1C522}" dt="2026-06-30T11:32:22.321" v="97" actId="47"/>
        <pc:sldMkLst>
          <pc:docMk/>
          <pc:sldMk cId="3293268516" sldId="2147471969"/>
        </pc:sldMkLst>
      </pc:sldChg>
      <pc:sldChg chg="del">
        <pc:chgData name="Ingrid Cruickshank" userId="5a5f459abdc2fb5c" providerId="LiveId" clId="{235A252F-ADF7-4EB3-AC49-03FD09E1C522}" dt="2026-06-30T11:32:21.804" v="96" actId="47"/>
        <pc:sldMkLst>
          <pc:docMk/>
          <pc:sldMk cId="849059403" sldId="2147471970"/>
        </pc:sldMkLst>
      </pc:sldChg>
      <pc:sldChg chg="del">
        <pc:chgData name="Ingrid Cruickshank" userId="5a5f459abdc2fb5c" providerId="LiveId" clId="{235A252F-ADF7-4EB3-AC49-03FD09E1C522}" dt="2026-06-30T11:32:17.668" v="88" actId="47"/>
        <pc:sldMkLst>
          <pc:docMk/>
          <pc:sldMk cId="1259138993" sldId="2147471971"/>
        </pc:sldMkLst>
      </pc:sldChg>
      <pc:sldChg chg="del">
        <pc:chgData name="Ingrid Cruickshank" userId="5a5f459abdc2fb5c" providerId="LiveId" clId="{235A252F-ADF7-4EB3-AC49-03FD09E1C522}" dt="2026-06-30T11:32:16.428" v="85" actId="47"/>
        <pc:sldMkLst>
          <pc:docMk/>
          <pc:sldMk cId="2730300476" sldId="2147471972"/>
        </pc:sldMkLst>
      </pc:sldChg>
      <pc:sldChg chg="del">
        <pc:chgData name="Ingrid Cruickshank" userId="5a5f459abdc2fb5c" providerId="LiveId" clId="{235A252F-ADF7-4EB3-AC49-03FD09E1C522}" dt="2026-06-30T11:32:28.575" v="106" actId="47"/>
        <pc:sldMkLst>
          <pc:docMk/>
          <pc:sldMk cId="2620824596" sldId="2147471974"/>
        </pc:sldMkLst>
      </pc:sldChg>
      <pc:sldChg chg="del">
        <pc:chgData name="Ingrid Cruickshank" userId="5a5f459abdc2fb5c" providerId="LiveId" clId="{235A252F-ADF7-4EB3-AC49-03FD09E1C522}" dt="2026-06-30T11:32:30.174" v="109" actId="47"/>
        <pc:sldMkLst>
          <pc:docMk/>
          <pc:sldMk cId="2561013865" sldId="2147471975"/>
        </pc:sldMkLst>
      </pc:sldChg>
      <pc:sldChg chg="del">
        <pc:chgData name="Ingrid Cruickshank" userId="5a5f459abdc2fb5c" providerId="LiveId" clId="{235A252F-ADF7-4EB3-AC49-03FD09E1C522}" dt="2026-06-30T11:32:23.001" v="98" actId="47"/>
        <pc:sldMkLst>
          <pc:docMk/>
          <pc:sldMk cId="1035844218" sldId="2147471976"/>
        </pc:sldMkLst>
      </pc:sldChg>
      <pc:sldChg chg="del">
        <pc:chgData name="Ingrid Cruickshank" userId="5a5f459abdc2fb5c" providerId="LiveId" clId="{235A252F-ADF7-4EB3-AC49-03FD09E1C522}" dt="2026-06-30T11:32:19.549" v="92" actId="47"/>
        <pc:sldMkLst>
          <pc:docMk/>
          <pc:sldMk cId="532350708" sldId="2147471977"/>
        </pc:sldMkLst>
      </pc:sldChg>
      <pc:sldChg chg="del">
        <pc:chgData name="Ingrid Cruickshank" userId="5a5f459abdc2fb5c" providerId="LiveId" clId="{235A252F-ADF7-4EB3-AC49-03FD09E1C522}" dt="2026-06-30T11:32:20.553" v="94" actId="47"/>
        <pc:sldMkLst>
          <pc:docMk/>
          <pc:sldMk cId="3894496696" sldId="2147471979"/>
        </pc:sldMkLst>
      </pc:sldChg>
      <pc:sldChg chg="del">
        <pc:chgData name="Ingrid Cruickshank" userId="5a5f459abdc2fb5c" providerId="LiveId" clId="{235A252F-ADF7-4EB3-AC49-03FD09E1C522}" dt="2026-06-30T11:32:29.014" v="107" actId="47"/>
        <pc:sldMkLst>
          <pc:docMk/>
          <pc:sldMk cId="3641028310" sldId="2147471980"/>
        </pc:sldMkLst>
      </pc:sldChg>
      <pc:sldChg chg="del">
        <pc:chgData name="Ingrid Cruickshank" userId="5a5f459abdc2fb5c" providerId="LiveId" clId="{235A252F-ADF7-4EB3-AC49-03FD09E1C522}" dt="2026-06-30T11:32:29.537" v="108" actId="47"/>
        <pc:sldMkLst>
          <pc:docMk/>
          <pc:sldMk cId="542591451" sldId="2147471981"/>
        </pc:sldMkLst>
      </pc:sldChg>
      <pc:sldChg chg="del">
        <pc:chgData name="Ingrid Cruickshank" userId="5a5f459abdc2fb5c" providerId="LiveId" clId="{235A252F-ADF7-4EB3-AC49-03FD09E1C522}" dt="2026-06-30T11:32:07.301" v="57" actId="47"/>
        <pc:sldMkLst>
          <pc:docMk/>
          <pc:sldMk cId="865836093" sldId="2147472197"/>
        </pc:sldMkLst>
      </pc:sldChg>
      <pc:sldChg chg="del">
        <pc:chgData name="Ingrid Cruickshank" userId="5a5f459abdc2fb5c" providerId="LiveId" clId="{235A252F-ADF7-4EB3-AC49-03FD09E1C522}" dt="2026-06-30T11:32:06.589" v="55" actId="47"/>
        <pc:sldMkLst>
          <pc:docMk/>
          <pc:sldMk cId="2854779572" sldId="2147472198"/>
        </pc:sldMkLst>
      </pc:sldChg>
      <pc:sldChg chg="del">
        <pc:chgData name="Ingrid Cruickshank" userId="5a5f459abdc2fb5c" providerId="LiveId" clId="{235A252F-ADF7-4EB3-AC49-03FD09E1C522}" dt="2026-06-30T11:32:07.009" v="56" actId="47"/>
        <pc:sldMkLst>
          <pc:docMk/>
          <pc:sldMk cId="1537015289" sldId="2147472199"/>
        </pc:sldMkLst>
      </pc:sldChg>
      <pc:sldChg chg="del">
        <pc:chgData name="Ingrid Cruickshank" userId="5a5f459abdc2fb5c" providerId="LiveId" clId="{235A252F-ADF7-4EB3-AC49-03FD09E1C522}" dt="2026-06-30T11:31:50.865" v="11" actId="47"/>
        <pc:sldMkLst>
          <pc:docMk/>
          <pc:sldMk cId="3207212864" sldId="2147472201"/>
        </pc:sldMkLst>
      </pc:sldChg>
      <pc:sldChg chg="del">
        <pc:chgData name="Ingrid Cruickshank" userId="5a5f459abdc2fb5c" providerId="LiveId" clId="{235A252F-ADF7-4EB3-AC49-03FD09E1C522}" dt="2026-06-30T11:31:58.768" v="31" actId="47"/>
        <pc:sldMkLst>
          <pc:docMk/>
          <pc:sldMk cId="4276890353" sldId="2147472841"/>
        </pc:sldMkLst>
      </pc:sldChg>
      <pc:sldChg chg="del">
        <pc:chgData name="Ingrid Cruickshank" userId="5a5f459abdc2fb5c" providerId="LiveId" clId="{235A252F-ADF7-4EB3-AC49-03FD09E1C522}" dt="2026-06-30T11:31:59.369" v="32" actId="47"/>
        <pc:sldMkLst>
          <pc:docMk/>
          <pc:sldMk cId="3008168711" sldId="2147472846"/>
        </pc:sldMkLst>
      </pc:sldChg>
      <pc:sldChg chg="del">
        <pc:chgData name="Ingrid Cruickshank" userId="5a5f459abdc2fb5c" providerId="LiveId" clId="{235A252F-ADF7-4EB3-AC49-03FD09E1C522}" dt="2026-06-30T11:31:53.680" v="16" actId="47"/>
        <pc:sldMkLst>
          <pc:docMk/>
          <pc:sldMk cId="2397166562" sldId="2147475823"/>
        </pc:sldMkLst>
      </pc:sldChg>
      <pc:sldChg chg="del">
        <pc:chgData name="Ingrid Cruickshank" userId="5a5f459abdc2fb5c" providerId="LiveId" clId="{235A252F-ADF7-4EB3-AC49-03FD09E1C522}" dt="2026-06-30T11:31:55.425" v="20" actId="47"/>
        <pc:sldMkLst>
          <pc:docMk/>
          <pc:sldMk cId="2998255600" sldId="2147480661"/>
        </pc:sldMkLst>
      </pc:sldChg>
      <pc:sldChg chg="del">
        <pc:chgData name="Ingrid Cruickshank" userId="5a5f459abdc2fb5c" providerId="LiveId" clId="{235A252F-ADF7-4EB3-AC49-03FD09E1C522}" dt="2026-06-30T11:31:57.334" v="23" actId="47"/>
        <pc:sldMkLst>
          <pc:docMk/>
          <pc:sldMk cId="536081341" sldId="2147483206"/>
        </pc:sldMkLst>
      </pc:sldChg>
      <pc:sldChg chg="del">
        <pc:chgData name="Ingrid Cruickshank" userId="5a5f459abdc2fb5c" providerId="LiveId" clId="{235A252F-ADF7-4EB3-AC49-03FD09E1C522}" dt="2026-06-30T11:31:51.585" v="13" actId="47"/>
        <pc:sldMkLst>
          <pc:docMk/>
          <pc:sldMk cId="4025720544" sldId="2147483213"/>
        </pc:sldMkLst>
      </pc:sldChg>
      <pc:sldChg chg="del">
        <pc:chgData name="Ingrid Cruickshank" userId="5a5f459abdc2fb5c" providerId="LiveId" clId="{235A252F-ADF7-4EB3-AC49-03FD09E1C522}" dt="2026-06-30T11:31:53.178" v="15" actId="47"/>
        <pc:sldMkLst>
          <pc:docMk/>
          <pc:sldMk cId="1960169042" sldId="2147483214"/>
        </pc:sldMkLst>
      </pc:sldChg>
      <pc:sldChg chg="del">
        <pc:chgData name="Ingrid Cruickshank" userId="5a5f459abdc2fb5c" providerId="LiveId" clId="{235A252F-ADF7-4EB3-AC49-03FD09E1C522}" dt="2026-06-30T11:31:55.010" v="19" actId="47"/>
        <pc:sldMkLst>
          <pc:docMk/>
          <pc:sldMk cId="2435879482" sldId="2147483215"/>
        </pc:sldMkLst>
      </pc:sldChg>
      <pc:sldChg chg="del">
        <pc:chgData name="Ingrid Cruickshank" userId="5a5f459abdc2fb5c" providerId="LiveId" clId="{235A252F-ADF7-4EB3-AC49-03FD09E1C522}" dt="2026-06-30T11:31:59.936" v="34" actId="47"/>
        <pc:sldMkLst>
          <pc:docMk/>
          <pc:sldMk cId="1336937590" sldId="2147483216"/>
        </pc:sldMkLst>
      </pc:sldChg>
      <pc:sldChg chg="del">
        <pc:chgData name="Ingrid Cruickshank" userId="5a5f459abdc2fb5c" providerId="LiveId" clId="{235A252F-ADF7-4EB3-AC49-03FD09E1C522}" dt="2026-06-30T11:31:58.251" v="28" actId="47"/>
        <pc:sldMkLst>
          <pc:docMk/>
          <pc:sldMk cId="3071039372" sldId="2147483219"/>
        </pc:sldMkLst>
      </pc:sldChg>
      <pc:sldChg chg="del">
        <pc:chgData name="Ingrid Cruickshank" userId="5a5f459abdc2fb5c" providerId="LiveId" clId="{235A252F-ADF7-4EB3-AC49-03FD09E1C522}" dt="2026-06-30T11:31:58.402" v="29" actId="47"/>
        <pc:sldMkLst>
          <pc:docMk/>
          <pc:sldMk cId="74104894" sldId="2147483220"/>
        </pc:sldMkLst>
      </pc:sldChg>
      <pc:sldChg chg="del">
        <pc:chgData name="Ingrid Cruickshank" userId="5a5f459abdc2fb5c" providerId="LiveId" clId="{235A252F-ADF7-4EB3-AC49-03FD09E1C522}" dt="2026-06-30T11:32:00.756" v="37" actId="47"/>
        <pc:sldMkLst>
          <pc:docMk/>
          <pc:sldMk cId="3635954129" sldId="2147483642"/>
        </pc:sldMkLst>
      </pc:sldChg>
      <pc:sldChg chg="del">
        <pc:chgData name="Ingrid Cruickshank" userId="5a5f459abdc2fb5c" providerId="LiveId" clId="{235A252F-ADF7-4EB3-AC49-03FD09E1C522}" dt="2026-06-30T11:31:56.667" v="21" actId="47"/>
        <pc:sldMkLst>
          <pc:docMk/>
          <pc:sldMk cId="1587683745" sldId="2147483644"/>
        </pc:sldMkLst>
      </pc:sldChg>
      <pc:sldChg chg="del">
        <pc:chgData name="Ingrid Cruickshank" userId="5a5f459abdc2fb5c" providerId="LiveId" clId="{235A252F-ADF7-4EB3-AC49-03FD09E1C522}" dt="2026-06-30T11:31:57.002" v="22" actId="47"/>
        <pc:sldMkLst>
          <pc:docMk/>
          <pc:sldMk cId="4033696707" sldId="2147483645"/>
        </pc:sldMkLst>
      </pc:sldChg>
      <pc:sldChg chg="del">
        <pc:chgData name="Ingrid Cruickshank" userId="5a5f459abdc2fb5c" providerId="LiveId" clId="{235A252F-ADF7-4EB3-AC49-03FD09E1C522}" dt="2026-06-30T11:31:57.661" v="24" actId="47"/>
        <pc:sldMkLst>
          <pc:docMk/>
          <pc:sldMk cId="703345529" sldId="2147483646"/>
        </pc:sldMkLst>
      </pc:sldChg>
      <pc:sldChg chg="del">
        <pc:chgData name="Ingrid Cruickshank" userId="5a5f459abdc2fb5c" providerId="LiveId" clId="{235A252F-ADF7-4EB3-AC49-03FD09E1C522}" dt="2026-06-30T11:31:57.736" v="25" actId="47"/>
        <pc:sldMkLst>
          <pc:docMk/>
          <pc:sldMk cId="2196434261" sldId="2147483647"/>
        </pc:sldMkLst>
      </pc:sldChg>
      <pc:sldMasterChg chg="delSldLayout">
        <pc:chgData name="Ingrid Cruickshank" userId="5a5f459abdc2fb5c" providerId="LiveId" clId="{235A252F-ADF7-4EB3-AC49-03FD09E1C522}" dt="2026-06-30T11:31:48.177" v="9" actId="47"/>
        <pc:sldMasterMkLst>
          <pc:docMk/>
          <pc:sldMasterMk cId="4115586247" sldId="2147483679"/>
        </pc:sldMasterMkLst>
        <pc:sldLayoutChg chg="del">
          <pc:chgData name="Ingrid Cruickshank" userId="5a5f459abdc2fb5c" providerId="LiveId" clId="{235A252F-ADF7-4EB3-AC49-03FD09E1C522}" dt="2026-06-30T11:31:48.177" v="9" actId="47"/>
          <pc:sldLayoutMkLst>
            <pc:docMk/>
            <pc:sldMasterMk cId="4115586247" sldId="2147483679"/>
            <pc:sldLayoutMk cId="3604947025" sldId="2147483795"/>
          </pc:sldLayoutMkLst>
        </pc:sldLayoutChg>
      </pc:sldMasterChg>
      <pc:sldMasterChg chg="del delSldLayout">
        <pc:chgData name="Ingrid Cruickshank" userId="5a5f459abdc2fb5c" providerId="LiveId" clId="{235A252F-ADF7-4EB3-AC49-03FD09E1C522}" dt="2026-06-30T11:31:05.626" v="0" actId="47"/>
        <pc:sldMasterMkLst>
          <pc:docMk/>
          <pc:sldMasterMk cId="3393922301" sldId="2147483702"/>
        </pc:sldMasterMkLst>
        <pc:sldLayoutChg chg="del">
          <pc:chgData name="Ingrid Cruickshank" userId="5a5f459abdc2fb5c" providerId="LiveId" clId="{235A252F-ADF7-4EB3-AC49-03FD09E1C522}" dt="2026-06-30T11:31:05.626" v="0" actId="47"/>
          <pc:sldLayoutMkLst>
            <pc:docMk/>
            <pc:sldMasterMk cId="3393922301" sldId="2147483702"/>
            <pc:sldLayoutMk cId="2376645145" sldId="2147483703"/>
          </pc:sldLayoutMkLst>
        </pc:sldLayoutChg>
      </pc:sldMasterChg>
      <pc:sldMasterChg chg="del delSldLayout">
        <pc:chgData name="Ingrid Cruickshank" userId="5a5f459abdc2fb5c" providerId="LiveId" clId="{235A252F-ADF7-4EB3-AC49-03FD09E1C522}" dt="2026-06-30T11:32:15.716" v="83" actId="47"/>
        <pc:sldMasterMkLst>
          <pc:docMk/>
          <pc:sldMasterMk cId="2253782089" sldId="2147483704"/>
        </pc:sldMasterMkLst>
        <pc:sldLayoutChg chg="del">
          <pc:chgData name="Ingrid Cruickshank" userId="5a5f459abdc2fb5c" providerId="LiveId" clId="{235A252F-ADF7-4EB3-AC49-03FD09E1C522}" dt="2026-06-30T11:32:15.716" v="83" actId="47"/>
          <pc:sldLayoutMkLst>
            <pc:docMk/>
            <pc:sldMasterMk cId="2253782089" sldId="2147483704"/>
            <pc:sldLayoutMk cId="2188359010" sldId="2147483705"/>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1801044193" sldId="2147483706"/>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4124759587" sldId="2147483707"/>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948012398" sldId="2147483708"/>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638057236" sldId="2147483709"/>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3584445767" sldId="2147483710"/>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857916718" sldId="2147483711"/>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4116441024" sldId="2147483712"/>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1811732907" sldId="2147483713"/>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3256917597" sldId="2147483714"/>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3400092564" sldId="2147483715"/>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2973867228" sldId="2147483716"/>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2284000154" sldId="2147483717"/>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2618216194" sldId="2147483718"/>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749181785" sldId="2147483719"/>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980412523" sldId="2147483720"/>
          </pc:sldLayoutMkLst>
        </pc:sldLayoutChg>
        <pc:sldLayoutChg chg="del">
          <pc:chgData name="Ingrid Cruickshank" userId="5a5f459abdc2fb5c" providerId="LiveId" clId="{235A252F-ADF7-4EB3-AC49-03FD09E1C522}" dt="2026-06-30T11:32:15.716" v="83" actId="47"/>
          <pc:sldLayoutMkLst>
            <pc:docMk/>
            <pc:sldMasterMk cId="2253782089" sldId="2147483704"/>
            <pc:sldLayoutMk cId="2774895223" sldId="2147483721"/>
          </pc:sldLayoutMkLst>
        </pc:sldLayoutChg>
        <pc:sldLayoutChg chg="del">
          <pc:chgData name="Ingrid Cruickshank" userId="5a5f459abdc2fb5c" providerId="LiveId" clId="{235A252F-ADF7-4EB3-AC49-03FD09E1C522}" dt="2026-06-30T11:32:15.351" v="82" actId="47"/>
          <pc:sldLayoutMkLst>
            <pc:docMk/>
            <pc:sldMasterMk cId="2253782089" sldId="2147483704"/>
            <pc:sldLayoutMk cId="1433966487" sldId="2147483722"/>
          </pc:sldLayoutMkLst>
        </pc:sldLayoutChg>
      </pc:sldMasterChg>
      <pc:sldMasterChg chg="del delSldLayout">
        <pc:chgData name="Ingrid Cruickshank" userId="5a5f459abdc2fb5c" providerId="LiveId" clId="{235A252F-ADF7-4EB3-AC49-03FD09E1C522}" dt="2026-06-30T11:32:07.593" v="58" actId="47"/>
        <pc:sldMasterMkLst>
          <pc:docMk/>
          <pc:sldMasterMk cId="1210779615" sldId="2147483723"/>
        </pc:sldMasterMkLst>
        <pc:sldLayoutChg chg="del">
          <pc:chgData name="Ingrid Cruickshank" userId="5a5f459abdc2fb5c" providerId="LiveId" clId="{235A252F-ADF7-4EB3-AC49-03FD09E1C522}" dt="2026-06-30T11:32:07.593" v="58" actId="47"/>
          <pc:sldLayoutMkLst>
            <pc:docMk/>
            <pc:sldMasterMk cId="1210779615" sldId="2147483723"/>
            <pc:sldLayoutMk cId="1409440427" sldId="2147483724"/>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4161749284" sldId="2147483725"/>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3630363048" sldId="2147483726"/>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2133359076" sldId="2147483727"/>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2883835528" sldId="2147483728"/>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3125749995" sldId="2147483729"/>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4207135323" sldId="2147483730"/>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2489225053" sldId="2147483731"/>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1444616772" sldId="2147483732"/>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145549146" sldId="2147483733"/>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3109334325" sldId="2147483734"/>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4227832910" sldId="2147483735"/>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1184894061" sldId="2147483736"/>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3713032585" sldId="2147483737"/>
          </pc:sldLayoutMkLst>
        </pc:sldLayoutChg>
        <pc:sldLayoutChg chg="del">
          <pc:chgData name="Ingrid Cruickshank" userId="5a5f459abdc2fb5c" providerId="LiveId" clId="{235A252F-ADF7-4EB3-AC49-03FD09E1C522}" dt="2026-06-30T11:32:07.593" v="58" actId="47"/>
          <pc:sldLayoutMkLst>
            <pc:docMk/>
            <pc:sldMasterMk cId="1210779615" sldId="2147483723"/>
            <pc:sldLayoutMk cId="1370680317" sldId="2147483738"/>
          </pc:sldLayoutMkLst>
        </pc:sldLayoutChg>
      </pc:sldMasterChg>
      <pc:sldMasterChg chg="del delSldLayout">
        <pc:chgData name="Ingrid Cruickshank" userId="5a5f459abdc2fb5c" providerId="LiveId" clId="{235A252F-ADF7-4EB3-AC49-03FD09E1C522}" dt="2026-06-30T11:32:06.209" v="54" actId="47"/>
        <pc:sldMasterMkLst>
          <pc:docMk/>
          <pc:sldMasterMk cId="3236490914" sldId="2147483739"/>
        </pc:sldMasterMkLst>
        <pc:sldLayoutChg chg="del">
          <pc:chgData name="Ingrid Cruickshank" userId="5a5f459abdc2fb5c" providerId="LiveId" clId="{235A252F-ADF7-4EB3-AC49-03FD09E1C522}" dt="2026-06-30T11:32:06.209" v="54" actId="47"/>
          <pc:sldLayoutMkLst>
            <pc:docMk/>
            <pc:sldMasterMk cId="3236490914" sldId="2147483739"/>
            <pc:sldLayoutMk cId="327560779" sldId="2147483740"/>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514298897" sldId="2147483741"/>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35007484" sldId="2147483742"/>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3408027722" sldId="2147483743"/>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546817507" sldId="2147483744"/>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758222468" sldId="2147483745"/>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842041877" sldId="2147483746"/>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826020791" sldId="2147483747"/>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2992052933" sldId="2147483748"/>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912543562" sldId="2147483749"/>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1906480208" sldId="2147483750"/>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2497870468" sldId="2147483751"/>
          </pc:sldLayoutMkLst>
        </pc:sldLayoutChg>
        <pc:sldLayoutChg chg="del">
          <pc:chgData name="Ingrid Cruickshank" userId="5a5f459abdc2fb5c" providerId="LiveId" clId="{235A252F-ADF7-4EB3-AC49-03FD09E1C522}" dt="2026-06-30T11:32:06.209" v="54" actId="47"/>
          <pc:sldLayoutMkLst>
            <pc:docMk/>
            <pc:sldMasterMk cId="3236490914" sldId="2147483739"/>
            <pc:sldLayoutMk cId="510757363" sldId="2147483752"/>
          </pc:sldLayoutMkLst>
        </pc:sldLayoutChg>
      </pc:sldMasterChg>
      <pc:sldMasterChg chg="del delSldLayout modSldLayout sldLayoutOrd">
        <pc:chgData name="Ingrid Cruickshank" userId="5a5f459abdc2fb5c" providerId="LiveId" clId="{235A252F-ADF7-4EB3-AC49-03FD09E1C522}" dt="2026-06-30T11:32:30.643" v="110" actId="47"/>
        <pc:sldMasterMkLst>
          <pc:docMk/>
          <pc:sldMasterMk cId="4016842322" sldId="2147483753"/>
        </pc:sldMasterMkLst>
        <pc:sldLayoutChg chg="del">
          <pc:chgData name="Ingrid Cruickshank" userId="5a5f459abdc2fb5c" providerId="LiveId" clId="{235A252F-ADF7-4EB3-AC49-03FD09E1C522}" dt="2026-06-30T11:32:30.643" v="110" actId="47"/>
          <pc:sldLayoutMkLst>
            <pc:docMk/>
            <pc:sldMasterMk cId="4016842322" sldId="2147483753"/>
            <pc:sldLayoutMk cId="898907264" sldId="2147483754"/>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1230687564" sldId="2147483755"/>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743143203" sldId="2147483756"/>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1329013786" sldId="2147483757"/>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1152632566" sldId="2147483758"/>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2478456530" sldId="2147483759"/>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2067713182" sldId="2147483760"/>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4164788961" sldId="2147483761"/>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412991517" sldId="2147483762"/>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3056431355" sldId="2147483763"/>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2470501395" sldId="2147483764"/>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680114080" sldId="2147483765"/>
          </pc:sldLayoutMkLst>
        </pc:sldLayoutChg>
        <pc:sldLayoutChg chg="del">
          <pc:chgData name="Ingrid Cruickshank" userId="5a5f459abdc2fb5c" providerId="LiveId" clId="{235A252F-ADF7-4EB3-AC49-03FD09E1C522}" dt="2026-06-30T11:32:30.643" v="110" actId="47"/>
          <pc:sldLayoutMkLst>
            <pc:docMk/>
            <pc:sldMasterMk cId="4016842322" sldId="2147483753"/>
            <pc:sldLayoutMk cId="3486540780" sldId="2147483766"/>
          </pc:sldLayoutMkLst>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1008223097" sldId="2147483781"/>
          </pc:sldLayoutMkLst>
          <pc:spChg chg="mod">
            <ac:chgData name="Ingrid Cruickshank" userId="5a5f459abdc2fb5c" providerId="LiveId" clId="{235A252F-ADF7-4EB3-AC49-03FD09E1C522}" dt="2026-06-30T11:31:14.551" v="3"/>
            <ac:spMkLst>
              <pc:docMk/>
              <pc:sldMasterMk cId="4016842322" sldId="2147483753"/>
              <pc:sldLayoutMk cId="1008223097" sldId="2147483781"/>
              <ac:spMk id="2" creationId="{17AAAFE5-F4A4-452F-410B-00F842559A5C}"/>
            </ac:spMkLst>
          </pc:spChg>
          <pc:spChg chg="mod">
            <ac:chgData name="Ingrid Cruickshank" userId="5a5f459abdc2fb5c" providerId="LiveId" clId="{235A252F-ADF7-4EB3-AC49-03FD09E1C522}" dt="2026-06-30T11:31:14.551" v="3"/>
            <ac:spMkLst>
              <pc:docMk/>
              <pc:sldMasterMk cId="4016842322" sldId="2147483753"/>
              <pc:sldLayoutMk cId="1008223097" sldId="2147483781"/>
              <ac:spMk id="3" creationId="{FB082381-823E-96D7-FEA7-396A114D8237}"/>
            </ac:spMkLst>
          </pc:spChg>
          <pc:spChg chg="mod">
            <ac:chgData name="Ingrid Cruickshank" userId="5a5f459abdc2fb5c" providerId="LiveId" clId="{235A252F-ADF7-4EB3-AC49-03FD09E1C522}" dt="2026-06-30T11:31:14.551" v="3"/>
            <ac:spMkLst>
              <pc:docMk/>
              <pc:sldMasterMk cId="4016842322" sldId="2147483753"/>
              <pc:sldLayoutMk cId="1008223097" sldId="2147483781"/>
              <ac:spMk id="21" creationId="{9DD1B175-E0B7-DC20-88D5-1C79E22E5B2C}"/>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970906848" sldId="2147483782"/>
          </pc:sldLayoutMkLst>
          <pc:spChg chg="mod">
            <ac:chgData name="Ingrid Cruickshank" userId="5a5f459abdc2fb5c" providerId="LiveId" clId="{235A252F-ADF7-4EB3-AC49-03FD09E1C522}" dt="2026-06-30T11:31:14.551" v="3"/>
            <ac:spMkLst>
              <pc:docMk/>
              <pc:sldMasterMk cId="4016842322" sldId="2147483753"/>
              <pc:sldLayoutMk cId="970906848" sldId="2147483782"/>
              <ac:spMk id="2" creationId="{1C049F3D-E633-0ACE-B2BB-A3AD21BEEE15}"/>
            </ac:spMkLst>
          </pc:spChg>
          <pc:spChg chg="mod">
            <ac:chgData name="Ingrid Cruickshank" userId="5a5f459abdc2fb5c" providerId="LiveId" clId="{235A252F-ADF7-4EB3-AC49-03FD09E1C522}" dt="2026-06-30T11:31:14.551" v="3"/>
            <ac:spMkLst>
              <pc:docMk/>
              <pc:sldMasterMk cId="4016842322" sldId="2147483753"/>
              <pc:sldLayoutMk cId="970906848" sldId="2147483782"/>
              <ac:spMk id="3" creationId="{B1B53522-6F54-224D-A46C-43BDB628E353}"/>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2310314513" sldId="2147483783"/>
          </pc:sldLayoutMkLst>
          <pc:spChg chg="mod">
            <ac:chgData name="Ingrid Cruickshank" userId="5a5f459abdc2fb5c" providerId="LiveId" clId="{235A252F-ADF7-4EB3-AC49-03FD09E1C522}" dt="2026-06-30T11:31:14.551" v="3"/>
            <ac:spMkLst>
              <pc:docMk/>
              <pc:sldMasterMk cId="4016842322" sldId="2147483753"/>
              <pc:sldLayoutMk cId="2310314513" sldId="2147483783"/>
              <ac:spMk id="2" creationId="{C8804E49-641E-FF54-5097-05FBBE91DF3F}"/>
            </ac:spMkLst>
          </pc:spChg>
          <pc:spChg chg="mod">
            <ac:chgData name="Ingrid Cruickshank" userId="5a5f459abdc2fb5c" providerId="LiveId" clId="{235A252F-ADF7-4EB3-AC49-03FD09E1C522}" dt="2026-06-30T11:31:14.551" v="3"/>
            <ac:spMkLst>
              <pc:docMk/>
              <pc:sldMasterMk cId="4016842322" sldId="2147483753"/>
              <pc:sldLayoutMk cId="2310314513" sldId="2147483783"/>
              <ac:spMk id="3" creationId="{35841687-EF2C-59E5-C217-463879C844FC}"/>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4293366294" sldId="2147483784"/>
          </pc:sldLayoutMkLst>
          <pc:spChg chg="mod">
            <ac:chgData name="Ingrid Cruickshank" userId="5a5f459abdc2fb5c" providerId="LiveId" clId="{235A252F-ADF7-4EB3-AC49-03FD09E1C522}" dt="2026-06-30T11:31:14.551" v="3"/>
            <ac:spMkLst>
              <pc:docMk/>
              <pc:sldMasterMk cId="4016842322" sldId="2147483753"/>
              <pc:sldLayoutMk cId="4293366294" sldId="2147483784"/>
              <ac:spMk id="2" creationId="{8A78CF30-E779-C483-A320-F5558596A5A9}"/>
            </ac:spMkLst>
          </pc:spChg>
          <pc:spChg chg="mod">
            <ac:chgData name="Ingrid Cruickshank" userId="5a5f459abdc2fb5c" providerId="LiveId" clId="{235A252F-ADF7-4EB3-AC49-03FD09E1C522}" dt="2026-06-30T11:31:14.551" v="3"/>
            <ac:spMkLst>
              <pc:docMk/>
              <pc:sldMasterMk cId="4016842322" sldId="2147483753"/>
              <pc:sldLayoutMk cId="4293366294" sldId="2147483784"/>
              <ac:spMk id="3" creationId="{53874C0A-7468-CB08-249C-DFA1D538B051}"/>
            </ac:spMkLst>
          </pc:spChg>
          <pc:spChg chg="mod">
            <ac:chgData name="Ingrid Cruickshank" userId="5a5f459abdc2fb5c" providerId="LiveId" clId="{235A252F-ADF7-4EB3-AC49-03FD09E1C522}" dt="2026-06-30T11:31:14.551" v="3"/>
            <ac:spMkLst>
              <pc:docMk/>
              <pc:sldMasterMk cId="4016842322" sldId="2147483753"/>
              <pc:sldLayoutMk cId="4293366294" sldId="2147483784"/>
              <ac:spMk id="4" creationId="{66864A62-5995-5383-6F3A-7E66D0D0F21D}"/>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1711763282" sldId="2147483785"/>
          </pc:sldLayoutMkLst>
          <pc:spChg chg="mod">
            <ac:chgData name="Ingrid Cruickshank" userId="5a5f459abdc2fb5c" providerId="LiveId" clId="{235A252F-ADF7-4EB3-AC49-03FD09E1C522}" dt="2026-06-30T11:31:14.551" v="3"/>
            <ac:spMkLst>
              <pc:docMk/>
              <pc:sldMasterMk cId="4016842322" sldId="2147483753"/>
              <pc:sldLayoutMk cId="1711763282" sldId="2147483785"/>
              <ac:spMk id="2" creationId="{3C31442F-BA31-6775-04B7-C5BADCE4D372}"/>
            </ac:spMkLst>
          </pc:spChg>
          <pc:spChg chg="mod">
            <ac:chgData name="Ingrid Cruickshank" userId="5a5f459abdc2fb5c" providerId="LiveId" clId="{235A252F-ADF7-4EB3-AC49-03FD09E1C522}" dt="2026-06-30T11:31:14.551" v="3"/>
            <ac:spMkLst>
              <pc:docMk/>
              <pc:sldMasterMk cId="4016842322" sldId="2147483753"/>
              <pc:sldLayoutMk cId="1711763282" sldId="2147483785"/>
              <ac:spMk id="3" creationId="{3BAC2287-38A4-A752-F3E8-931CDD0AB307}"/>
            </ac:spMkLst>
          </pc:spChg>
          <pc:spChg chg="mod">
            <ac:chgData name="Ingrid Cruickshank" userId="5a5f459abdc2fb5c" providerId="LiveId" clId="{235A252F-ADF7-4EB3-AC49-03FD09E1C522}" dt="2026-06-30T11:31:14.551" v="3"/>
            <ac:spMkLst>
              <pc:docMk/>
              <pc:sldMasterMk cId="4016842322" sldId="2147483753"/>
              <pc:sldLayoutMk cId="1711763282" sldId="2147483785"/>
              <ac:spMk id="4" creationId="{35F2B376-AAE0-D1BD-1768-8F98681C30FF}"/>
            </ac:spMkLst>
          </pc:spChg>
          <pc:spChg chg="mod">
            <ac:chgData name="Ingrid Cruickshank" userId="5a5f459abdc2fb5c" providerId="LiveId" clId="{235A252F-ADF7-4EB3-AC49-03FD09E1C522}" dt="2026-06-30T11:31:14.551" v="3"/>
            <ac:spMkLst>
              <pc:docMk/>
              <pc:sldMasterMk cId="4016842322" sldId="2147483753"/>
              <pc:sldLayoutMk cId="1711763282" sldId="2147483785"/>
              <ac:spMk id="5" creationId="{53DBD214-8418-12E3-F3DF-C0E00764BB4F}"/>
            </ac:spMkLst>
          </pc:spChg>
          <pc:spChg chg="mod">
            <ac:chgData name="Ingrid Cruickshank" userId="5a5f459abdc2fb5c" providerId="LiveId" clId="{235A252F-ADF7-4EB3-AC49-03FD09E1C522}" dt="2026-06-30T11:31:14.551" v="3"/>
            <ac:spMkLst>
              <pc:docMk/>
              <pc:sldMasterMk cId="4016842322" sldId="2147483753"/>
              <pc:sldLayoutMk cId="1711763282" sldId="2147483785"/>
              <ac:spMk id="6" creationId="{3E677B34-8A0C-B735-0B20-FA76C9A5E659}"/>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673722925" sldId="2147483786"/>
          </pc:sldLayoutMkLst>
          <pc:spChg chg="mod">
            <ac:chgData name="Ingrid Cruickshank" userId="5a5f459abdc2fb5c" providerId="LiveId" clId="{235A252F-ADF7-4EB3-AC49-03FD09E1C522}" dt="2026-06-30T11:31:14.551" v="3"/>
            <ac:spMkLst>
              <pc:docMk/>
              <pc:sldMasterMk cId="4016842322" sldId="2147483753"/>
              <pc:sldLayoutMk cId="673722925" sldId="2147483786"/>
              <ac:spMk id="11" creationId="{DB0BA0F1-DFFD-80E2-DC45-EF5EDD180124}"/>
            </ac:spMkLst>
          </pc:spChg>
          <pc:spChg chg="mod">
            <ac:chgData name="Ingrid Cruickshank" userId="5a5f459abdc2fb5c" providerId="LiveId" clId="{235A252F-ADF7-4EB3-AC49-03FD09E1C522}" dt="2026-06-30T11:31:14.551" v="3"/>
            <ac:spMkLst>
              <pc:docMk/>
              <pc:sldMasterMk cId="4016842322" sldId="2147483753"/>
              <pc:sldLayoutMk cId="673722925" sldId="2147483786"/>
              <ac:spMk id="12" creationId="{1B683E75-4DB4-17DB-2052-835B3DB5B2A5}"/>
            </ac:spMkLst>
          </pc:spChg>
          <pc:spChg chg="mod">
            <ac:chgData name="Ingrid Cruickshank" userId="5a5f459abdc2fb5c" providerId="LiveId" clId="{235A252F-ADF7-4EB3-AC49-03FD09E1C522}" dt="2026-06-30T11:31:14.551" v="3"/>
            <ac:spMkLst>
              <pc:docMk/>
              <pc:sldMasterMk cId="4016842322" sldId="2147483753"/>
              <pc:sldLayoutMk cId="673722925" sldId="2147483786"/>
              <ac:spMk id="13" creationId="{65A73B61-CE51-EE7E-096D-54BFBB867DA2}"/>
            </ac:spMkLst>
          </pc:spChg>
          <pc:spChg chg="mod">
            <ac:chgData name="Ingrid Cruickshank" userId="5a5f459abdc2fb5c" providerId="LiveId" clId="{235A252F-ADF7-4EB3-AC49-03FD09E1C522}" dt="2026-06-30T11:31:14.551" v="3"/>
            <ac:spMkLst>
              <pc:docMk/>
              <pc:sldMasterMk cId="4016842322" sldId="2147483753"/>
              <pc:sldLayoutMk cId="673722925" sldId="2147483786"/>
              <ac:spMk id="14" creationId="{A44361D7-79E1-9D7B-F952-8638CE000E4A}"/>
            </ac:spMkLst>
          </pc:spChg>
          <pc:spChg chg="mod">
            <ac:chgData name="Ingrid Cruickshank" userId="5a5f459abdc2fb5c" providerId="LiveId" clId="{235A252F-ADF7-4EB3-AC49-03FD09E1C522}" dt="2026-06-30T11:31:14.551" v="3"/>
            <ac:spMkLst>
              <pc:docMk/>
              <pc:sldMasterMk cId="4016842322" sldId="2147483753"/>
              <pc:sldLayoutMk cId="673722925" sldId="2147483786"/>
              <ac:spMk id="15" creationId="{B1E8BB2F-FB4E-AA68-918D-027132703638}"/>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2839093043" sldId="2147483787"/>
          </pc:sldLayoutMkLst>
          <pc:spChg chg="mod">
            <ac:chgData name="Ingrid Cruickshank" userId="5a5f459abdc2fb5c" providerId="LiveId" clId="{235A252F-ADF7-4EB3-AC49-03FD09E1C522}" dt="2026-06-30T11:31:14.551" v="3"/>
            <ac:spMkLst>
              <pc:docMk/>
              <pc:sldMasterMk cId="4016842322" sldId="2147483753"/>
              <pc:sldLayoutMk cId="2839093043" sldId="2147483787"/>
              <ac:spMk id="12" creationId="{4CA0414E-B0E5-2546-910C-E13E6DB0F09D}"/>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1680846861" sldId="2147483788"/>
          </pc:sldLayoutMkLst>
          <pc:spChg chg="mod">
            <ac:chgData name="Ingrid Cruickshank" userId="5a5f459abdc2fb5c" providerId="LiveId" clId="{235A252F-ADF7-4EB3-AC49-03FD09E1C522}" dt="2026-06-30T11:31:14.551" v="3"/>
            <ac:spMkLst>
              <pc:docMk/>
              <pc:sldMasterMk cId="4016842322" sldId="2147483753"/>
              <pc:sldLayoutMk cId="1680846861" sldId="2147483788"/>
              <ac:spMk id="9" creationId="{3C03BC15-4460-27E5-0D1D-49A07A1AF5A3}"/>
            </ac:spMkLst>
          </pc:spChg>
          <pc:spChg chg="mod">
            <ac:chgData name="Ingrid Cruickshank" userId="5a5f459abdc2fb5c" providerId="LiveId" clId="{235A252F-ADF7-4EB3-AC49-03FD09E1C522}" dt="2026-06-30T11:31:14.551" v="3"/>
            <ac:spMkLst>
              <pc:docMk/>
              <pc:sldMasterMk cId="4016842322" sldId="2147483753"/>
              <pc:sldLayoutMk cId="1680846861" sldId="2147483788"/>
              <ac:spMk id="12" creationId="{4CA0414E-B0E5-2546-910C-E13E6DB0F09D}"/>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1784888879" sldId="2147483789"/>
          </pc:sldLayoutMkLst>
          <pc:spChg chg="mod">
            <ac:chgData name="Ingrid Cruickshank" userId="5a5f459abdc2fb5c" providerId="LiveId" clId="{235A252F-ADF7-4EB3-AC49-03FD09E1C522}" dt="2026-06-30T11:31:14.551" v="3"/>
            <ac:spMkLst>
              <pc:docMk/>
              <pc:sldMasterMk cId="4016842322" sldId="2147483753"/>
              <pc:sldLayoutMk cId="1784888879" sldId="2147483789"/>
              <ac:spMk id="18" creationId="{3B0DFCF6-C03D-C7DE-194E-CD53DEC4D1F2}"/>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918988889" sldId="2147483790"/>
          </pc:sldLayoutMkLst>
          <pc:spChg chg="mod">
            <ac:chgData name="Ingrid Cruickshank" userId="5a5f459abdc2fb5c" providerId="LiveId" clId="{235A252F-ADF7-4EB3-AC49-03FD09E1C522}" dt="2026-06-30T11:31:14.551" v="3"/>
            <ac:spMkLst>
              <pc:docMk/>
              <pc:sldMasterMk cId="4016842322" sldId="2147483753"/>
              <pc:sldLayoutMk cId="918988889" sldId="2147483790"/>
              <ac:spMk id="4" creationId="{0E8EF2A6-E49C-5331-C9FF-E408AA569458}"/>
            </ac:spMkLst>
          </pc:spChg>
          <pc:spChg chg="mod">
            <ac:chgData name="Ingrid Cruickshank" userId="5a5f459abdc2fb5c" providerId="LiveId" clId="{235A252F-ADF7-4EB3-AC49-03FD09E1C522}" dt="2026-06-30T11:31:14.551" v="3"/>
            <ac:spMkLst>
              <pc:docMk/>
              <pc:sldMasterMk cId="4016842322" sldId="2147483753"/>
              <pc:sldLayoutMk cId="918988889" sldId="2147483790"/>
              <ac:spMk id="9" creationId="{FA4FDE35-96ED-495B-AF20-C2B7AC77B37F}"/>
            </ac:spMkLst>
          </pc:spChg>
          <pc:spChg chg="mod">
            <ac:chgData name="Ingrid Cruickshank" userId="5a5f459abdc2fb5c" providerId="LiveId" clId="{235A252F-ADF7-4EB3-AC49-03FD09E1C522}" dt="2026-06-30T11:31:14.551" v="3"/>
            <ac:spMkLst>
              <pc:docMk/>
              <pc:sldMasterMk cId="4016842322" sldId="2147483753"/>
              <pc:sldLayoutMk cId="918988889" sldId="2147483790"/>
              <ac:spMk id="14" creationId="{91AC1C48-A9DD-3F33-C399-1613FC59F888}"/>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1590537665" sldId="2147483791"/>
          </pc:sldLayoutMkLst>
          <pc:spChg chg="mod">
            <ac:chgData name="Ingrid Cruickshank" userId="5a5f459abdc2fb5c" providerId="LiveId" clId="{235A252F-ADF7-4EB3-AC49-03FD09E1C522}" dt="2026-06-30T11:31:14.551" v="3"/>
            <ac:spMkLst>
              <pc:docMk/>
              <pc:sldMasterMk cId="4016842322" sldId="2147483753"/>
              <pc:sldLayoutMk cId="1590537665" sldId="2147483791"/>
              <ac:spMk id="3" creationId="{76425586-2A55-70A8-48EB-057D334BF519}"/>
            </ac:spMkLst>
          </pc:spChg>
          <pc:spChg chg="mod">
            <ac:chgData name="Ingrid Cruickshank" userId="5a5f459abdc2fb5c" providerId="LiveId" clId="{235A252F-ADF7-4EB3-AC49-03FD09E1C522}" dt="2026-06-30T11:31:14.551" v="3"/>
            <ac:spMkLst>
              <pc:docMk/>
              <pc:sldMasterMk cId="4016842322" sldId="2147483753"/>
              <pc:sldLayoutMk cId="1590537665" sldId="2147483791"/>
              <ac:spMk id="4" creationId="{6008C3FC-B840-603C-AB3B-50C9A93C5C02}"/>
            </ac:spMkLst>
          </pc:spChg>
          <pc:spChg chg="mod">
            <ac:chgData name="Ingrid Cruickshank" userId="5a5f459abdc2fb5c" providerId="LiveId" clId="{235A252F-ADF7-4EB3-AC49-03FD09E1C522}" dt="2026-06-30T11:31:14.551" v="3"/>
            <ac:spMkLst>
              <pc:docMk/>
              <pc:sldMasterMk cId="4016842322" sldId="2147483753"/>
              <pc:sldLayoutMk cId="1590537665" sldId="2147483791"/>
              <ac:spMk id="9" creationId="{29F6724A-6CA5-B1F1-8B33-03BE4576A7B4}"/>
            </ac:spMkLst>
          </pc:spChg>
          <pc:spChg chg="mod">
            <ac:chgData name="Ingrid Cruickshank" userId="5a5f459abdc2fb5c" providerId="LiveId" clId="{235A252F-ADF7-4EB3-AC49-03FD09E1C522}" dt="2026-06-30T11:31:14.551" v="3"/>
            <ac:spMkLst>
              <pc:docMk/>
              <pc:sldMasterMk cId="4016842322" sldId="2147483753"/>
              <pc:sldLayoutMk cId="1590537665" sldId="2147483791"/>
              <ac:spMk id="14" creationId="{B2019352-8E4A-1880-E888-383B43AEB198}"/>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4178102797" sldId="2147483792"/>
          </pc:sldLayoutMkLst>
          <pc:spChg chg="mod">
            <ac:chgData name="Ingrid Cruickshank" userId="5a5f459abdc2fb5c" providerId="LiveId" clId="{235A252F-ADF7-4EB3-AC49-03FD09E1C522}" dt="2026-06-30T11:31:14.551" v="3"/>
            <ac:spMkLst>
              <pc:docMk/>
              <pc:sldMasterMk cId="4016842322" sldId="2147483753"/>
              <pc:sldLayoutMk cId="4178102797" sldId="2147483792"/>
              <ac:spMk id="16" creationId="{563C873A-1056-9F7E-30E6-F6DA1516449F}"/>
            </ac:spMkLst>
          </pc:spChg>
          <pc:spChg chg="mod">
            <ac:chgData name="Ingrid Cruickshank" userId="5a5f459abdc2fb5c" providerId="LiveId" clId="{235A252F-ADF7-4EB3-AC49-03FD09E1C522}" dt="2026-06-30T11:31:14.551" v="3"/>
            <ac:spMkLst>
              <pc:docMk/>
              <pc:sldMasterMk cId="4016842322" sldId="2147483753"/>
              <pc:sldLayoutMk cId="4178102797" sldId="2147483792"/>
              <ac:spMk id="17" creationId="{9545BDC5-FE33-0AFF-0F56-03610258E8C6}"/>
            </ac:spMkLst>
          </pc:spChg>
        </pc:sldLayoutChg>
        <pc:sldLayoutChg chg="modSp del mod ord">
          <pc:chgData name="Ingrid Cruickshank" userId="5a5f459abdc2fb5c" providerId="LiveId" clId="{235A252F-ADF7-4EB3-AC49-03FD09E1C522}" dt="2026-06-30T11:32:30.643" v="110" actId="47"/>
          <pc:sldLayoutMkLst>
            <pc:docMk/>
            <pc:sldMasterMk cId="4016842322" sldId="2147483753"/>
            <pc:sldLayoutMk cId="866795588" sldId="2147483793"/>
          </pc:sldLayoutMkLst>
          <pc:spChg chg="mod">
            <ac:chgData name="Ingrid Cruickshank" userId="5a5f459abdc2fb5c" providerId="LiveId" clId="{235A252F-ADF7-4EB3-AC49-03FD09E1C522}" dt="2026-06-30T11:31:14.551" v="3"/>
            <ac:spMkLst>
              <pc:docMk/>
              <pc:sldMasterMk cId="4016842322" sldId="2147483753"/>
              <pc:sldLayoutMk cId="866795588" sldId="2147483793"/>
              <ac:spMk id="16" creationId="{563C873A-1056-9F7E-30E6-F6DA1516449F}"/>
            </ac:spMkLst>
          </pc:spChg>
          <pc:spChg chg="mod">
            <ac:chgData name="Ingrid Cruickshank" userId="5a5f459abdc2fb5c" providerId="LiveId" clId="{235A252F-ADF7-4EB3-AC49-03FD09E1C522}" dt="2026-06-30T11:31:14.551" v="3"/>
            <ac:spMkLst>
              <pc:docMk/>
              <pc:sldMasterMk cId="4016842322" sldId="2147483753"/>
              <pc:sldLayoutMk cId="866795588" sldId="2147483793"/>
              <ac:spMk id="17" creationId="{9545BDC5-FE33-0AFF-0F56-03610258E8C6}"/>
            </ac:spMkLst>
          </pc:spChg>
          <pc:spChg chg="mod">
            <ac:chgData name="Ingrid Cruickshank" userId="5a5f459abdc2fb5c" providerId="LiveId" clId="{235A252F-ADF7-4EB3-AC49-03FD09E1C522}" dt="2026-06-30T11:31:14.551" v="3"/>
            <ac:spMkLst>
              <pc:docMk/>
              <pc:sldMasterMk cId="4016842322" sldId="2147483753"/>
              <pc:sldLayoutMk cId="866795588" sldId="2147483793"/>
              <ac:spMk id="25" creationId="{11AAF19F-E669-36B5-2F2B-266E1A866AD9}"/>
            </ac:spMkLst>
          </pc:spChg>
        </pc:sldLayoutChg>
        <pc:sldLayoutChg chg="modSp del mod ord">
          <pc:chgData name="Ingrid Cruickshank" userId="5a5f459abdc2fb5c" providerId="LiveId" clId="{235A252F-ADF7-4EB3-AC49-03FD09E1C522}" dt="2026-06-30T11:32:07.301" v="57" actId="47"/>
          <pc:sldLayoutMkLst>
            <pc:docMk/>
            <pc:sldMasterMk cId="4016842322" sldId="2147483753"/>
            <pc:sldLayoutMk cId="2506003454" sldId="2147483794"/>
          </pc:sldLayoutMkLst>
          <pc:spChg chg="mod">
            <ac:chgData name="Ingrid Cruickshank" userId="5a5f459abdc2fb5c" providerId="LiveId" clId="{235A252F-ADF7-4EB3-AC49-03FD09E1C522}" dt="2026-06-30T11:31:14.551" v="3"/>
            <ac:spMkLst>
              <pc:docMk/>
              <pc:sldMasterMk cId="4016842322" sldId="2147483753"/>
              <pc:sldLayoutMk cId="2506003454" sldId="2147483794"/>
              <ac:spMk id="2" creationId="{ADB3A534-42CF-7493-B77C-CEA3F9C972E0}"/>
            </ac:spMkLst>
          </pc:spChg>
          <pc:spChg chg="mod">
            <ac:chgData name="Ingrid Cruickshank" userId="5a5f459abdc2fb5c" providerId="LiveId" clId="{235A252F-ADF7-4EB3-AC49-03FD09E1C522}" dt="2026-06-30T11:31:14.551" v="3"/>
            <ac:spMkLst>
              <pc:docMk/>
              <pc:sldMasterMk cId="4016842322" sldId="2147483753"/>
              <pc:sldLayoutMk cId="2506003454" sldId="2147483794"/>
              <ac:spMk id="3" creationId="{A2B672E6-64B6-E75E-29FA-03F5058F024D}"/>
            </ac:spMkLst>
          </pc:spChg>
          <pc:spChg chg="mod">
            <ac:chgData name="Ingrid Cruickshank" userId="5a5f459abdc2fb5c" providerId="LiveId" clId="{235A252F-ADF7-4EB3-AC49-03FD09E1C522}" dt="2026-06-30T11:31:14.551" v="3"/>
            <ac:spMkLst>
              <pc:docMk/>
              <pc:sldMasterMk cId="4016842322" sldId="2147483753"/>
              <pc:sldLayoutMk cId="2506003454" sldId="2147483794"/>
              <ac:spMk id="4" creationId="{AF3F07F8-0A24-1D9C-8808-7CA6BFAF483A}"/>
            </ac:spMkLst>
          </pc:spChg>
        </pc:sldLayoutChg>
      </pc:sldMasterChg>
      <pc:sldMasterChg chg="del delSldLayout">
        <pc:chgData name="Ingrid Cruickshank" userId="5a5f459abdc2fb5c" providerId="LiveId" clId="{235A252F-ADF7-4EB3-AC49-03FD09E1C522}" dt="2026-06-30T11:32:04.771" v="51" actId="47"/>
        <pc:sldMasterMkLst>
          <pc:docMk/>
          <pc:sldMasterMk cId="3836778975" sldId="2147483767"/>
        </pc:sldMasterMkLst>
        <pc:sldLayoutChg chg="del">
          <pc:chgData name="Ingrid Cruickshank" userId="5a5f459abdc2fb5c" providerId="LiveId" clId="{235A252F-ADF7-4EB3-AC49-03FD09E1C522}" dt="2026-06-30T11:32:04.771" v="51" actId="47"/>
          <pc:sldLayoutMkLst>
            <pc:docMk/>
            <pc:sldMasterMk cId="3836778975" sldId="2147483767"/>
            <pc:sldLayoutMk cId="2107492769" sldId="2147483768"/>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2942759884" sldId="2147483769"/>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3609053022" sldId="2147483770"/>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742663340" sldId="2147483771"/>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3213708161" sldId="2147483772"/>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2217810026" sldId="2147483773"/>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3463665083" sldId="2147483774"/>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3219651339" sldId="2147483775"/>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1778730821" sldId="2147483776"/>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2544572397" sldId="2147483777"/>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2531121308" sldId="2147483778"/>
          </pc:sldLayoutMkLst>
        </pc:sldLayoutChg>
        <pc:sldLayoutChg chg="del">
          <pc:chgData name="Ingrid Cruickshank" userId="5a5f459abdc2fb5c" providerId="LiveId" clId="{235A252F-ADF7-4EB3-AC49-03FD09E1C522}" dt="2026-06-30T11:32:04.771" v="51" actId="47"/>
          <pc:sldLayoutMkLst>
            <pc:docMk/>
            <pc:sldMasterMk cId="3836778975" sldId="2147483767"/>
            <pc:sldLayoutMk cId="3391555005" sldId="2147483779"/>
          </pc:sldLayoutMkLst>
        </pc:sldLayoutChg>
      </pc:sldMasterChg>
      <pc:sldMasterChg chg="del sldLayoutOrd">
        <pc:chgData name="Ingrid Cruickshank" userId="5a5f459abdc2fb5c" providerId="LiveId" clId="{235A252F-ADF7-4EB3-AC49-03FD09E1C522}" dt="2026-06-30T11:31:14.583" v="4"/>
        <pc:sldMasterMkLst>
          <pc:docMk/>
          <pc:sldMasterMk cId="866100739" sldId="2147483780"/>
        </pc:sldMasterMkLst>
      </pc:sldMasterChg>
      <pc:sldMasterChg chg="del delSldLayout">
        <pc:chgData name="Ingrid Cruickshank" userId="5a5f459abdc2fb5c" providerId="LiveId" clId="{235A252F-ADF7-4EB3-AC49-03FD09E1C522}" dt="2026-06-30T11:32:01.579" v="40" actId="47"/>
        <pc:sldMasterMkLst>
          <pc:docMk/>
          <pc:sldMasterMk cId="1327203652" sldId="2147483808"/>
        </pc:sldMasterMkLst>
        <pc:sldLayoutChg chg="del">
          <pc:chgData name="Ingrid Cruickshank" userId="5a5f459abdc2fb5c" providerId="LiveId" clId="{235A252F-ADF7-4EB3-AC49-03FD09E1C522}" dt="2026-06-30T11:32:01.579" v="40" actId="47"/>
          <pc:sldLayoutMkLst>
            <pc:docMk/>
            <pc:sldMasterMk cId="1327203652" sldId="2147483808"/>
            <pc:sldLayoutMk cId="651206026" sldId="2147483809"/>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998064326" sldId="2147483810"/>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2893633171" sldId="2147483811"/>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2254639038" sldId="2147483812"/>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1899404365" sldId="2147483813"/>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69628642" sldId="2147483814"/>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909006448" sldId="2147483815"/>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1071358493" sldId="2147483816"/>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1390579545" sldId="2147483817"/>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435009533" sldId="2147483818"/>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1064259689" sldId="2147483819"/>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1524188801" sldId="2147483820"/>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003980723" sldId="2147483821"/>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1707957653" sldId="2147483822"/>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501252108" sldId="2147483823"/>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808710999" sldId="2147483830"/>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938926667" sldId="2147483833"/>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2307755794" sldId="2147483896"/>
          </pc:sldLayoutMkLst>
        </pc:sldLayoutChg>
        <pc:sldLayoutChg chg="del">
          <pc:chgData name="Ingrid Cruickshank" userId="5a5f459abdc2fb5c" providerId="LiveId" clId="{235A252F-ADF7-4EB3-AC49-03FD09E1C522}" dt="2026-06-30T11:32:01.579" v="40" actId="47"/>
          <pc:sldLayoutMkLst>
            <pc:docMk/>
            <pc:sldMasterMk cId="1327203652" sldId="2147483808"/>
            <pc:sldLayoutMk cId="3980827265" sldId="2147483967"/>
          </pc:sldLayoutMkLst>
        </pc:sldLayoutChg>
      </pc:sldMasterChg>
      <pc:sldMasterChg chg="del delSldLayout">
        <pc:chgData name="Ingrid Cruickshank" userId="5a5f459abdc2fb5c" providerId="LiveId" clId="{235A252F-ADF7-4EB3-AC49-03FD09E1C522}" dt="2026-06-30T11:32:01.341" v="39" actId="47"/>
        <pc:sldMasterMkLst>
          <pc:docMk/>
          <pc:sldMasterMk cId="4230125028" sldId="2147483971"/>
        </pc:sldMasterMkLst>
        <pc:sldLayoutChg chg="del">
          <pc:chgData name="Ingrid Cruickshank" userId="5a5f459abdc2fb5c" providerId="LiveId" clId="{235A252F-ADF7-4EB3-AC49-03FD09E1C522}" dt="2026-06-30T11:32:01.341" v="39" actId="47"/>
          <pc:sldLayoutMkLst>
            <pc:docMk/>
            <pc:sldMasterMk cId="4230125028" sldId="2147483971"/>
            <pc:sldLayoutMk cId="4116337186" sldId="2147483972"/>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951144605" sldId="2147483973"/>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788082083" sldId="2147483974"/>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311211313" sldId="2147483975"/>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4005698561" sldId="2147483976"/>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673116990" sldId="2147483977"/>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893223088" sldId="2147483978"/>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029303919" sldId="2147483979"/>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424251081" sldId="2147483980"/>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745489396" sldId="2147483981"/>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1885522205" sldId="2147483982"/>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221519687" sldId="2147483983"/>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1844764118" sldId="2147483984"/>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709777419" sldId="2147483985"/>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2108741387" sldId="2147483986"/>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2482686568" sldId="2147483989"/>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3282377029" sldId="2147483990"/>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2325061467" sldId="2147484025"/>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2571728851" sldId="2147484026"/>
          </pc:sldLayoutMkLst>
        </pc:sldLayoutChg>
        <pc:sldLayoutChg chg="del">
          <pc:chgData name="Ingrid Cruickshank" userId="5a5f459abdc2fb5c" providerId="LiveId" clId="{235A252F-ADF7-4EB3-AC49-03FD09E1C522}" dt="2026-06-30T11:31:58.251" v="28" actId="47"/>
          <pc:sldLayoutMkLst>
            <pc:docMk/>
            <pc:sldMasterMk cId="4230125028" sldId="2147483971"/>
            <pc:sldLayoutMk cId="3650208073" sldId="2147484042"/>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1060926871" sldId="2147484110"/>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2480306257" sldId="2147484113"/>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535192235" sldId="2147484114"/>
          </pc:sldLayoutMkLst>
        </pc:sldLayoutChg>
        <pc:sldLayoutChg chg="del">
          <pc:chgData name="Ingrid Cruickshank" userId="5a5f459abdc2fb5c" providerId="LiveId" clId="{235A252F-ADF7-4EB3-AC49-03FD09E1C522}" dt="2026-06-30T11:32:01.341" v="39" actId="47"/>
          <pc:sldLayoutMkLst>
            <pc:docMk/>
            <pc:sldMasterMk cId="4230125028" sldId="2147483971"/>
            <pc:sldLayoutMk cId="867995603" sldId="2147484115"/>
          </pc:sldLayoutMkLst>
        </pc:sldLayoutChg>
      </pc:sldMasterChg>
      <pc:sldMasterChg chg="del delSldLayout">
        <pc:chgData name="Ingrid Cruickshank" userId="5a5f459abdc2fb5c" providerId="LiveId" clId="{235A252F-ADF7-4EB3-AC49-03FD09E1C522}" dt="2026-06-30T11:31:57.661" v="24" actId="47"/>
        <pc:sldMasterMkLst>
          <pc:docMk/>
          <pc:sldMasterMk cId="2833633812" sldId="2147484159"/>
        </pc:sldMasterMkLst>
        <pc:sldLayoutChg chg="del">
          <pc:chgData name="Ingrid Cruickshank" userId="5a5f459abdc2fb5c" providerId="LiveId" clId="{235A252F-ADF7-4EB3-AC49-03FD09E1C522}" dt="2026-06-30T11:31:57.661" v="24" actId="47"/>
          <pc:sldLayoutMkLst>
            <pc:docMk/>
            <pc:sldMasterMk cId="2833633812" sldId="2147484159"/>
            <pc:sldLayoutMk cId="18862329" sldId="2147484160"/>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4080424946" sldId="2147484161"/>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3828065365" sldId="2147484162"/>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2822695998" sldId="2147484163"/>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2447047449" sldId="2147484164"/>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2234419551" sldId="2147484165"/>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2662456381" sldId="2147484166"/>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1377392698" sldId="2147484167"/>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2373449790" sldId="2147484168"/>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1928110677" sldId="2147484169"/>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2505648823" sldId="2147484170"/>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3094638344" sldId="2147484171"/>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394211490" sldId="2147484172"/>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965059886" sldId="2147484173"/>
          </pc:sldLayoutMkLst>
        </pc:sldLayoutChg>
        <pc:sldLayoutChg chg="del">
          <pc:chgData name="Ingrid Cruickshank" userId="5a5f459abdc2fb5c" providerId="LiveId" clId="{235A252F-ADF7-4EB3-AC49-03FD09E1C522}" dt="2026-06-30T11:31:57.661" v="24" actId="47"/>
          <pc:sldLayoutMkLst>
            <pc:docMk/>
            <pc:sldMasterMk cId="2833633812" sldId="2147484159"/>
            <pc:sldLayoutMk cId="1862620924" sldId="2147484174"/>
          </pc:sldLayoutMkLst>
        </pc:sldLayoutChg>
      </pc:sldMasterChg>
      <pc:sldMasterChg chg="del delSldLayout">
        <pc:chgData name="Ingrid Cruickshank" userId="5a5f459abdc2fb5c" providerId="LiveId" clId="{235A252F-ADF7-4EB3-AC49-03FD09E1C522}" dt="2026-06-30T11:31:58.220" v="27" actId="47"/>
        <pc:sldMasterMkLst>
          <pc:docMk/>
          <pc:sldMasterMk cId="1440223274" sldId="2147484219"/>
        </pc:sldMasterMkLst>
        <pc:sldLayoutChg chg="del">
          <pc:chgData name="Ingrid Cruickshank" userId="5a5f459abdc2fb5c" providerId="LiveId" clId="{235A252F-ADF7-4EB3-AC49-03FD09E1C522}" dt="2026-06-30T11:31:58.220" v="27" actId="47"/>
          <pc:sldLayoutMkLst>
            <pc:docMk/>
            <pc:sldMasterMk cId="1440223274" sldId="2147484219"/>
            <pc:sldLayoutMk cId="4068762409" sldId="2147484220"/>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81732756" sldId="2147484221"/>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990985737" sldId="2147484222"/>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773832426" sldId="2147484223"/>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612214277" sldId="2147484224"/>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835684376" sldId="2147484225"/>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846261099" sldId="2147484226"/>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887232343" sldId="2147484227"/>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614294016" sldId="2147484228"/>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559934440" sldId="2147484229"/>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059265777" sldId="2147484230"/>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75651705" sldId="2147484231"/>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131681076" sldId="2147484232"/>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890189210" sldId="2147484233"/>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693732837" sldId="2147484234"/>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066918647" sldId="2147484235"/>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893184651" sldId="2147484236"/>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529105868" sldId="2147484237"/>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895742566" sldId="2147484238"/>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209707171" sldId="2147484239"/>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994610577" sldId="2147484240"/>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72377502" sldId="2147484241"/>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291219486" sldId="2147484242"/>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81441173" sldId="2147484243"/>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3495653" sldId="2147484244"/>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285294008" sldId="2147484245"/>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198177686" sldId="2147484246"/>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982732942" sldId="2147484247"/>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222430181" sldId="2147484248"/>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938696462" sldId="2147484249"/>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823333421" sldId="2147484250"/>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579915964" sldId="2147484251"/>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4251365393" sldId="2147484252"/>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088892164" sldId="2147484253"/>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686263678" sldId="2147484254"/>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511424186" sldId="2147484255"/>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962777699" sldId="2147484256"/>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524644126" sldId="2147484257"/>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948523368" sldId="2147484258"/>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142207106" sldId="2147484259"/>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57799053" sldId="2147484260"/>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1056260815" sldId="2147484261"/>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778115030" sldId="2147484262"/>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2850451111" sldId="2147484263"/>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514322737" sldId="2147484264"/>
          </pc:sldLayoutMkLst>
        </pc:sldLayoutChg>
        <pc:sldLayoutChg chg="del">
          <pc:chgData name="Ingrid Cruickshank" userId="5a5f459abdc2fb5c" providerId="LiveId" clId="{235A252F-ADF7-4EB3-AC49-03FD09E1C522}" dt="2026-06-30T11:31:58.220" v="27" actId="47"/>
          <pc:sldLayoutMkLst>
            <pc:docMk/>
            <pc:sldMasterMk cId="1440223274" sldId="2147484219"/>
            <pc:sldLayoutMk cId="38548053" sldId="2147484265"/>
          </pc:sldLayoutMkLst>
        </pc:sldLayoutChg>
      </pc:sldMasterChg>
      <pc:sldMasterChg chg="del delSldLayout">
        <pc:chgData name="Ingrid Cruickshank" userId="5a5f459abdc2fb5c" providerId="LiveId" clId="{235A252F-ADF7-4EB3-AC49-03FD09E1C522}" dt="2026-06-30T11:31:59.730" v="33" actId="47"/>
        <pc:sldMasterMkLst>
          <pc:docMk/>
          <pc:sldMasterMk cId="3731022859" sldId="2147484266"/>
        </pc:sldMasterMkLst>
        <pc:sldLayoutChg chg="del">
          <pc:chgData name="Ingrid Cruickshank" userId="5a5f459abdc2fb5c" providerId="LiveId" clId="{235A252F-ADF7-4EB3-AC49-03FD09E1C522}" dt="2026-06-30T11:31:59.730" v="33" actId="47"/>
          <pc:sldLayoutMkLst>
            <pc:docMk/>
            <pc:sldMasterMk cId="3731022859" sldId="2147484266"/>
            <pc:sldLayoutMk cId="3872521608" sldId="2147484267"/>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4097495435" sldId="2147484268"/>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77080149" sldId="2147484269"/>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871341249" sldId="2147484270"/>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603065644" sldId="2147484271"/>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4026367010" sldId="2147484272"/>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1484674519" sldId="2147484273"/>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817199078" sldId="2147484274"/>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3347172744" sldId="2147484275"/>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1408774332" sldId="2147484276"/>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968391257" sldId="2147484277"/>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156695875" sldId="2147484278"/>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3580454193" sldId="2147484279"/>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2496717621" sldId="2147484280"/>
          </pc:sldLayoutMkLst>
        </pc:sldLayoutChg>
        <pc:sldLayoutChg chg="del">
          <pc:chgData name="Ingrid Cruickshank" userId="5a5f459abdc2fb5c" providerId="LiveId" clId="{235A252F-ADF7-4EB3-AC49-03FD09E1C522}" dt="2026-06-30T11:31:59.730" v="33" actId="47"/>
          <pc:sldLayoutMkLst>
            <pc:docMk/>
            <pc:sldMasterMk cId="3731022859" sldId="2147484266"/>
            <pc:sldLayoutMk cId="2235045462" sldId="2147484281"/>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B7C7B3-414A-49FA-8B28-F21FF8188820}"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GB"/>
        </a:p>
      </dgm:t>
    </dgm:pt>
    <dgm:pt modelId="{E8C32BAB-279D-4378-BA45-A9E5C3E8052E}">
      <dgm:prSet phldrT="[Text]" phldr="0"/>
      <dgm:spPr/>
      <dgm:t>
        <a:bodyPr/>
        <a:lstStyle/>
        <a:p>
          <a:r>
            <a:rPr lang="en-GB" dirty="0"/>
            <a:t>Virty</a:t>
          </a:r>
        </a:p>
      </dgm:t>
    </dgm:pt>
    <dgm:pt modelId="{B21C2047-325A-4D29-95F5-656EA248ADB2}" type="parTrans" cxnId="{3748AEE4-FC8A-4124-B29B-4D164C9C5482}">
      <dgm:prSet/>
      <dgm:spPr/>
      <dgm:t>
        <a:bodyPr/>
        <a:lstStyle/>
        <a:p>
          <a:endParaRPr lang="en-GB"/>
        </a:p>
      </dgm:t>
    </dgm:pt>
    <dgm:pt modelId="{29AE19DF-904F-495B-B35E-B4D0AF41D8B9}" type="sibTrans" cxnId="{3748AEE4-FC8A-4124-B29B-4D164C9C5482}">
      <dgm:prSet/>
      <dgm:spPr/>
      <dgm:t>
        <a:bodyPr/>
        <a:lstStyle/>
        <a:p>
          <a:endParaRPr lang="en-GB"/>
        </a:p>
      </dgm:t>
    </dgm:pt>
    <dgm:pt modelId="{867EC232-56C0-48BC-99D4-09E9BAB772FD}">
      <dgm:prSet phldrT="[Text]" phldr="0"/>
      <dgm:spPr/>
      <dgm:t>
        <a:bodyPr/>
        <a:lstStyle/>
        <a:p>
          <a:r>
            <a:rPr lang="en-GB"/>
            <a:t>Pharmacy</a:t>
          </a:r>
          <a:endParaRPr lang="en-GB" dirty="0"/>
        </a:p>
      </dgm:t>
    </dgm:pt>
    <dgm:pt modelId="{3345EAB3-9AA6-454B-80D5-399C4134A228}" type="parTrans" cxnId="{A38CC6F3-846C-453E-8D69-CACE9E03291B}">
      <dgm:prSet/>
      <dgm:spPr/>
      <dgm:t>
        <a:bodyPr/>
        <a:lstStyle/>
        <a:p>
          <a:endParaRPr lang="en-GB"/>
        </a:p>
      </dgm:t>
    </dgm:pt>
    <dgm:pt modelId="{F84A84DB-BA98-4553-BAC8-E88A93F664AB}" type="sibTrans" cxnId="{A38CC6F3-846C-453E-8D69-CACE9E03291B}">
      <dgm:prSet/>
      <dgm:spPr/>
      <dgm:t>
        <a:bodyPr/>
        <a:lstStyle/>
        <a:p>
          <a:endParaRPr lang="en-GB"/>
        </a:p>
      </dgm:t>
    </dgm:pt>
    <dgm:pt modelId="{DD59ECFF-8659-4CF6-BA5C-1C47FED42C5F}" type="pres">
      <dgm:prSet presAssocID="{E4B7C7B3-414A-49FA-8B28-F21FF8188820}" presName="CompostProcess" presStyleCnt="0">
        <dgm:presLayoutVars>
          <dgm:dir/>
          <dgm:resizeHandles val="exact"/>
        </dgm:presLayoutVars>
      </dgm:prSet>
      <dgm:spPr/>
    </dgm:pt>
    <dgm:pt modelId="{DAAF5557-D53A-42A0-A36F-2EC7E69DC994}" type="pres">
      <dgm:prSet presAssocID="{E4B7C7B3-414A-49FA-8B28-F21FF8188820}" presName="arrow" presStyleLbl="bgShp" presStyleIdx="0" presStyleCnt="1" custLinFactNeighborX="6515"/>
      <dgm:spPr/>
    </dgm:pt>
    <dgm:pt modelId="{58A85D1C-E0CA-4531-933E-9B64258983E8}" type="pres">
      <dgm:prSet presAssocID="{E4B7C7B3-414A-49FA-8B28-F21FF8188820}" presName="linearProcess" presStyleCnt="0"/>
      <dgm:spPr/>
    </dgm:pt>
    <dgm:pt modelId="{5C0B0471-313D-4532-A872-146B2A7435F9}" type="pres">
      <dgm:prSet presAssocID="{E8C32BAB-279D-4378-BA45-A9E5C3E8052E}" presName="textNode" presStyleLbl="node1" presStyleIdx="0" presStyleCnt="2">
        <dgm:presLayoutVars>
          <dgm:bulletEnabled val="1"/>
        </dgm:presLayoutVars>
      </dgm:prSet>
      <dgm:spPr/>
    </dgm:pt>
    <dgm:pt modelId="{25688D94-A17B-4C0D-9137-01AB94C181DE}" type="pres">
      <dgm:prSet presAssocID="{29AE19DF-904F-495B-B35E-B4D0AF41D8B9}" presName="sibTrans" presStyleCnt="0"/>
      <dgm:spPr/>
    </dgm:pt>
    <dgm:pt modelId="{6C2CED78-D820-4AA7-94C4-58A6542151D4}" type="pres">
      <dgm:prSet presAssocID="{867EC232-56C0-48BC-99D4-09E9BAB772FD}" presName="textNode" presStyleLbl="node1" presStyleIdx="1" presStyleCnt="2">
        <dgm:presLayoutVars>
          <dgm:bulletEnabled val="1"/>
        </dgm:presLayoutVars>
      </dgm:prSet>
      <dgm:spPr/>
    </dgm:pt>
  </dgm:ptLst>
  <dgm:cxnLst>
    <dgm:cxn modelId="{90AED72B-515C-4973-8F75-5D652832382D}" type="presOf" srcId="{E8C32BAB-279D-4378-BA45-A9E5C3E8052E}" destId="{5C0B0471-313D-4532-A872-146B2A7435F9}" srcOrd="0" destOrd="0" presId="urn:microsoft.com/office/officeart/2005/8/layout/hProcess9"/>
    <dgm:cxn modelId="{019407C3-1CD2-4B44-9388-5F8680F81D22}" type="presOf" srcId="{867EC232-56C0-48BC-99D4-09E9BAB772FD}" destId="{6C2CED78-D820-4AA7-94C4-58A6542151D4}" srcOrd="0" destOrd="0" presId="urn:microsoft.com/office/officeart/2005/8/layout/hProcess9"/>
    <dgm:cxn modelId="{3748AEE4-FC8A-4124-B29B-4D164C9C5482}" srcId="{E4B7C7B3-414A-49FA-8B28-F21FF8188820}" destId="{E8C32BAB-279D-4378-BA45-A9E5C3E8052E}" srcOrd="0" destOrd="0" parTransId="{B21C2047-325A-4D29-95F5-656EA248ADB2}" sibTransId="{29AE19DF-904F-495B-B35E-B4D0AF41D8B9}"/>
    <dgm:cxn modelId="{3D4E52E6-13E3-4B56-BB23-D85475F06EDC}" type="presOf" srcId="{E4B7C7B3-414A-49FA-8B28-F21FF8188820}" destId="{DD59ECFF-8659-4CF6-BA5C-1C47FED42C5F}" srcOrd="0" destOrd="0" presId="urn:microsoft.com/office/officeart/2005/8/layout/hProcess9"/>
    <dgm:cxn modelId="{A38CC6F3-846C-453E-8D69-CACE9E03291B}" srcId="{E4B7C7B3-414A-49FA-8B28-F21FF8188820}" destId="{867EC232-56C0-48BC-99D4-09E9BAB772FD}" srcOrd="1" destOrd="0" parTransId="{3345EAB3-9AA6-454B-80D5-399C4134A228}" sibTransId="{F84A84DB-BA98-4553-BAC8-E88A93F664AB}"/>
    <dgm:cxn modelId="{7FF71123-62C5-4AF9-8425-81626BCA2A0D}" type="presParOf" srcId="{DD59ECFF-8659-4CF6-BA5C-1C47FED42C5F}" destId="{DAAF5557-D53A-42A0-A36F-2EC7E69DC994}" srcOrd="0" destOrd="0" presId="urn:microsoft.com/office/officeart/2005/8/layout/hProcess9"/>
    <dgm:cxn modelId="{E85680F8-2232-4839-9D74-08A92A5FBED6}" type="presParOf" srcId="{DD59ECFF-8659-4CF6-BA5C-1C47FED42C5F}" destId="{58A85D1C-E0CA-4531-933E-9B64258983E8}" srcOrd="1" destOrd="0" presId="urn:microsoft.com/office/officeart/2005/8/layout/hProcess9"/>
    <dgm:cxn modelId="{4E3E0DD4-BDF1-4623-8C0D-8557B8BD3E2D}" type="presParOf" srcId="{58A85D1C-E0CA-4531-933E-9B64258983E8}" destId="{5C0B0471-313D-4532-A872-146B2A7435F9}" srcOrd="0" destOrd="0" presId="urn:microsoft.com/office/officeart/2005/8/layout/hProcess9"/>
    <dgm:cxn modelId="{D4A9CB2D-3D56-46E3-BF1A-EE5DBD6466AE}" type="presParOf" srcId="{58A85D1C-E0CA-4531-933E-9B64258983E8}" destId="{25688D94-A17B-4C0D-9137-01AB94C181DE}" srcOrd="1" destOrd="0" presId="urn:microsoft.com/office/officeart/2005/8/layout/hProcess9"/>
    <dgm:cxn modelId="{10734F8C-97B5-4623-AC20-1BFBF07EB777}" type="presParOf" srcId="{58A85D1C-E0CA-4531-933E-9B64258983E8}" destId="{6C2CED78-D820-4AA7-94C4-58A6542151D4}" srcOrd="2"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AF5557-D53A-42A0-A36F-2EC7E69DC994}">
      <dsp:nvSpPr>
        <dsp:cNvPr id="0" name=""/>
        <dsp:cNvSpPr/>
      </dsp:nvSpPr>
      <dsp:spPr>
        <a:xfrm>
          <a:off x="473040" y="0"/>
          <a:ext cx="3084003" cy="2373053"/>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0B0471-313D-4532-A872-146B2A7435F9}">
      <dsp:nvSpPr>
        <dsp:cNvPr id="0" name=""/>
        <dsp:cNvSpPr/>
      </dsp:nvSpPr>
      <dsp:spPr>
        <a:xfrm>
          <a:off x="143" y="711915"/>
          <a:ext cx="1748515" cy="94922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kern="1200" dirty="0"/>
            <a:t>Virty</a:t>
          </a:r>
        </a:p>
      </dsp:txBody>
      <dsp:txXfrm>
        <a:off x="46480" y="758252"/>
        <a:ext cx="1655841" cy="856547"/>
      </dsp:txXfrm>
    </dsp:sp>
    <dsp:sp modelId="{6C2CED78-D820-4AA7-94C4-58A6542151D4}">
      <dsp:nvSpPr>
        <dsp:cNvPr id="0" name=""/>
        <dsp:cNvSpPr/>
      </dsp:nvSpPr>
      <dsp:spPr>
        <a:xfrm>
          <a:off x="1879580" y="711915"/>
          <a:ext cx="1748515" cy="949221"/>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kern="1200"/>
            <a:t>Pharmacy</a:t>
          </a:r>
          <a:endParaRPr lang="en-GB" sz="2800" kern="1200" dirty="0"/>
        </a:p>
      </dsp:txBody>
      <dsp:txXfrm>
        <a:off x="1925917" y="758252"/>
        <a:ext cx="1655841" cy="85654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F8E4AE-345A-44F9-876B-63B02C2E6453}" type="datetimeFigureOut">
              <a:rPr lang="en-GB" smtClean="0"/>
              <a:t>01/07/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132931-A9A8-44EB-A315-FE64D2F6A735}" type="slidenum">
              <a:rPr lang="en-GB" smtClean="0"/>
              <a:t>‹#›</a:t>
            </a:fld>
            <a:endParaRPr lang="en-GB"/>
          </a:p>
        </p:txBody>
      </p:sp>
    </p:spTree>
    <p:extLst>
      <p:ext uri="{BB962C8B-B14F-4D97-AF65-F5344CB8AC3E}">
        <p14:creationId xmlns:p14="http://schemas.microsoft.com/office/powerpoint/2010/main" val="458828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71525"/>
            <a:ext cx="6813550" cy="3833813"/>
          </a:xfrm>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C767179-5674-419B-97FF-1A913C04FC80}" type="slidenum">
              <a:rPr lang="en-US" smtClean="0"/>
              <a:pPr/>
              <a:t>1</a:t>
            </a:fld>
            <a:endParaRPr lang="en-US"/>
          </a:p>
        </p:txBody>
      </p:sp>
    </p:spTree>
    <p:extLst>
      <p:ext uri="{BB962C8B-B14F-4D97-AF65-F5344CB8AC3E}">
        <p14:creationId xmlns:p14="http://schemas.microsoft.com/office/powerpoint/2010/main" val="986979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E5197-E58B-0E6C-F198-AF625E6E23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20FD7-6787-A0B6-48EC-601524D431E4}"/>
              </a:ext>
            </a:extLst>
          </p:cNvPr>
          <p:cNvSpPr>
            <a:spLocks noGrp="1" noRot="1" noChangeAspect="1"/>
          </p:cNvSpPr>
          <p:nvPr>
            <p:ph type="sldImg"/>
          </p:nvPr>
        </p:nvSpPr>
        <p:spPr>
          <a:xfrm>
            <a:off x="-476250" y="685800"/>
            <a:ext cx="6096000" cy="3429000"/>
          </a:xfrm>
        </p:spPr>
        <p:txBody>
          <a:bodyPr/>
          <a:lstStyle/>
          <a:p>
            <a:endParaRPr lang="en-GB"/>
          </a:p>
        </p:txBody>
      </p:sp>
      <p:sp>
        <p:nvSpPr>
          <p:cNvPr id="3" name="Notes Placeholder 2">
            <a:extLst>
              <a:ext uri="{FF2B5EF4-FFF2-40B4-BE49-F238E27FC236}">
                <a16:creationId xmlns:a16="http://schemas.microsoft.com/office/drawing/2014/main" id="{2B7C72FE-52C7-14BE-CA19-A260A5D53D54}"/>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69D38CAD-D083-5B71-5B06-343310CC6FAE}"/>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7021451-1387-4CA6-816F-3879F97B5CBC}"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677624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8118E-A925-F10A-A532-521C43B715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438BA8-821F-E11B-6992-CA9C0086350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F18E1A39-694F-24D4-C3AB-5F3AED04F849}"/>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95F33392-C943-7341-F50F-63F43E41BD4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5582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15:notes"/>
          <p:cNvSpPr>
            <a:spLocks noGrp="1" noRot="1" noChangeAspect="1"/>
          </p:cNvSpPr>
          <p:nvPr>
            <p:ph type="sldImg" idx="2"/>
          </p:nvPr>
        </p:nvSpPr>
        <p:spPr>
          <a:xfrm>
            <a:off x="-1166813" y="0"/>
            <a:ext cx="5334001" cy="3000375"/>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30" name="Google Shape;230;p15:notes"/>
          <p:cNvSpPr txBox="1">
            <a:spLocks noGrp="1"/>
          </p:cNvSpPr>
          <p:nvPr>
            <p:ph type="body" idx="1"/>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200"/>
              <a:buFont typeface="Arial"/>
              <a:buNone/>
            </a:pPr>
            <a:endParaRPr sz="1200">
              <a:solidFill>
                <a:schemeClr val="dk1"/>
              </a:solidFill>
              <a:latin typeface="Arial"/>
              <a:ea typeface="Arial"/>
              <a:cs typeface="Arial"/>
              <a:sym typeface="Arial"/>
            </a:endParaRPr>
          </a:p>
        </p:txBody>
      </p:sp>
      <p:sp>
        <p:nvSpPr>
          <p:cNvPr id="231" name="Google Shape;231;p15: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GB"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t>12</a:t>
            </a:fld>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9C7A7-C64F-441A-4E3A-9DDB586AA9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AE632B-037F-D713-FF39-205585395A9D}"/>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3EC48346-B752-9EA7-2159-5EC413FF5A67}"/>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BD8F5B61-D74D-9C44-2666-06F5EB96783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7054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16:notes"/>
          <p:cNvSpPr>
            <a:spLocks noGrp="1" noRot="1" noChangeAspect="1"/>
          </p:cNvSpPr>
          <p:nvPr>
            <p:ph type="sldImg" idx="2"/>
          </p:nvPr>
        </p:nvSpPr>
        <p:spPr>
          <a:xfrm>
            <a:off x="-1166813" y="0"/>
            <a:ext cx="5334001" cy="3000375"/>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68" name="Google Shape;268;p16:notes"/>
          <p:cNvSpPr txBox="1">
            <a:spLocks noGrp="1"/>
          </p:cNvSpPr>
          <p:nvPr>
            <p:ph type="body" idx="1"/>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269" name="Google Shape;269;p1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a:extLst>
            <a:ext uri="{FF2B5EF4-FFF2-40B4-BE49-F238E27FC236}">
              <a16:creationId xmlns:a16="http://schemas.microsoft.com/office/drawing/2014/main" id="{0A876DF3-1AC3-2135-50DA-388E8A7896EA}"/>
            </a:ext>
          </a:extLst>
        </p:cNvPr>
        <p:cNvGrpSpPr/>
        <p:nvPr/>
      </p:nvGrpSpPr>
      <p:grpSpPr>
        <a:xfrm>
          <a:off x="0" y="0"/>
          <a:ext cx="0" cy="0"/>
          <a:chOff x="0" y="0"/>
          <a:chExt cx="0" cy="0"/>
        </a:xfrm>
      </p:grpSpPr>
      <p:sp>
        <p:nvSpPr>
          <p:cNvPr id="267" name="Google Shape;267;p16:notes">
            <a:extLst>
              <a:ext uri="{FF2B5EF4-FFF2-40B4-BE49-F238E27FC236}">
                <a16:creationId xmlns:a16="http://schemas.microsoft.com/office/drawing/2014/main" id="{6C72381E-020E-B98E-B0F5-401816071F92}"/>
              </a:ext>
            </a:extLst>
          </p:cNvPr>
          <p:cNvSpPr>
            <a:spLocks noGrp="1" noRot="1" noChangeAspect="1"/>
          </p:cNvSpPr>
          <p:nvPr>
            <p:ph type="sldImg" idx="2"/>
          </p:nvPr>
        </p:nvSpPr>
        <p:spPr>
          <a:xfrm>
            <a:off x="-1166813" y="0"/>
            <a:ext cx="5334001" cy="3000375"/>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68" name="Google Shape;268;p16:notes">
            <a:extLst>
              <a:ext uri="{FF2B5EF4-FFF2-40B4-BE49-F238E27FC236}">
                <a16:creationId xmlns:a16="http://schemas.microsoft.com/office/drawing/2014/main" id="{45D828A2-A268-69A5-D3D3-68747BC6A0D7}"/>
              </a:ext>
            </a:extLst>
          </p:cNvPr>
          <p:cNvSpPr txBox="1">
            <a:spLocks noGrp="1"/>
          </p:cNvSpPr>
          <p:nvPr>
            <p:ph type="body" idx="1"/>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dk1"/>
              </a:solidFill>
              <a:latin typeface="Arial"/>
              <a:ea typeface="Arial"/>
              <a:cs typeface="Arial"/>
              <a:sym typeface="Arial"/>
            </a:endParaRPr>
          </a:p>
        </p:txBody>
      </p:sp>
      <p:sp>
        <p:nvSpPr>
          <p:cNvPr id="269" name="Google Shape;269;p16:notes">
            <a:extLst>
              <a:ext uri="{FF2B5EF4-FFF2-40B4-BE49-F238E27FC236}">
                <a16:creationId xmlns:a16="http://schemas.microsoft.com/office/drawing/2014/main" id="{07AE68E9-E399-A110-4199-9C0C932D4637}"/>
              </a:ext>
            </a:extLst>
          </p:cNvPr>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8396779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DA14A-5491-FAC5-98A4-AE11FBEDE8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6C7A6E-88E1-2CE2-FECF-97EC00CED8F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77643195-C073-E889-C8EF-58D828D76F73}"/>
              </a:ext>
            </a:extLst>
          </p:cNvPr>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EBCACFB6-83BB-50ED-053A-8B941184F67E}"/>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4874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A53D8-F7AC-99DD-7A3D-48C273CB98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7DDF2F-84C0-BA55-40FB-B2F8CE996EBB}"/>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DCE59D67-CBEE-326B-A58C-B7E58448468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CED02CD-7A4A-1980-0786-2BA9E8D9E45E}"/>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8415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79E20-D19B-DD2E-B38E-71D3A8F09A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E2B64-2D79-959D-E519-003F2C8CEDB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C4CADF9-5A9E-022D-ABDF-32120BC7A985}"/>
              </a:ext>
            </a:extLst>
          </p:cNvPr>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2CBF9105-46E2-D9EA-D5D7-CE0E4852661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319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BCED3-868D-306B-607C-284D8E6013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EDEB2-D593-A185-9B1B-BCF8C48C59E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C95EEA7D-B69F-5D5C-2067-8463C63388F0}"/>
              </a:ext>
            </a:extLst>
          </p:cNvPr>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0887CC4C-50C5-8A20-E508-A962A5CE0588}"/>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7161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3F927-5F7A-2138-8CE7-75EF06DF3F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CD24AF-1CDE-7613-3878-54C28C82C3C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6CC7EC66-92FB-77F7-12D5-F4D202FD3C4C}"/>
              </a:ext>
            </a:extLst>
          </p:cNvPr>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BF326AFE-5E44-19E3-2BB2-0B2149907F38}"/>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8096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0BBE5-9190-D1B7-3C6E-6668656711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679340-BB47-2844-EFC7-60720FAB2BE6}"/>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D01DB010-8E6F-1FDF-C5A5-DD419ADF6C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63C7CB1-E540-3027-4903-97628EE62DE2}"/>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843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1E417-3C7D-42FF-2645-EB20B96AE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B9B668-8665-3F16-B105-2F3C0C2B794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824710C4-22DC-85F6-3974-5D93C10A8935}"/>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0C0EB972-A176-B9B0-C1E6-D275DFE0C6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27022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F5666-14D9-49BD-6871-5C048B2B17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9FB125-2361-AD03-1641-016C9341DC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DB5C8B-C49A-7D33-F1BF-0297D3041E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0EFA91A-DF4C-3878-BAC8-0365B1C01868}"/>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716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oleObject" Target="../embeddings/oleObject5.bin"/><Relationship Id="rId7"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2.sv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jpeg"/><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2.svg"/><Relationship Id="rId5" Type="http://schemas.openxmlformats.org/officeDocument/2006/relationships/image" Target="../media/image10.sv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8.xml"/><Relationship Id="rId6" Type="http://schemas.openxmlformats.org/officeDocument/2006/relationships/image" Target="../media/image2.svg"/><Relationship Id="rId5" Type="http://schemas.openxmlformats.org/officeDocument/2006/relationships/image" Target="../media/image12.svg"/><Relationship Id="rId10" Type="http://schemas.openxmlformats.org/officeDocument/2006/relationships/image" Target="../media/image16.jpeg"/><Relationship Id="rId4" Type="http://schemas.openxmlformats.org/officeDocument/2006/relationships/image" Target="../media/image1.emf"/><Relationship Id="rId9" Type="http://schemas.openxmlformats.org/officeDocument/2006/relationships/image" Target="../media/image15.sv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2.svg"/><Relationship Id="rId5" Type="http://schemas.openxmlformats.org/officeDocument/2006/relationships/image" Target="../media/image17.sv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oleObject" Target="../embeddings/oleObject10.bin"/><Relationship Id="rId7" Type="http://schemas.openxmlformats.org/officeDocument/2006/relationships/image" Target="../media/image6.svg"/><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8.jpe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sv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6.sv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2.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6.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7.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8.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21.svg"/><Relationship Id="rId5" Type="http://schemas.openxmlformats.org/officeDocument/2006/relationships/image" Target="../media/image22.jpe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22.jpeg"/><Relationship Id="rId5" Type="http://schemas.openxmlformats.org/officeDocument/2006/relationships/image" Target="../media/image21.sv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4.xml"/><Relationship Id="rId5" Type="http://schemas.openxmlformats.org/officeDocument/2006/relationships/image" Target="../media/image21.sv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25.bin"/><Relationship Id="rId7"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6.svg"/><Relationship Id="rId5" Type="http://schemas.openxmlformats.org/officeDocument/2006/relationships/image" Target="../media/image27.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6.svg"/><Relationship Id="rId5" Type="http://schemas.openxmlformats.org/officeDocument/2006/relationships/image" Target="../media/image28.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6.svg"/><Relationship Id="rId5" Type="http://schemas.openxmlformats.org/officeDocument/2006/relationships/image" Target="../media/image29.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29.bin"/><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9.xml"/><Relationship Id="rId6" Type="http://schemas.openxmlformats.org/officeDocument/2006/relationships/image" Target="../media/image30.jpeg"/><Relationship Id="rId5" Type="http://schemas.openxmlformats.org/officeDocument/2006/relationships/image" Target="../media/image6.svg"/><Relationship Id="rId4" Type="http://schemas.openxmlformats.org/officeDocument/2006/relationships/image" Target="../media/image1.emf"/><Relationship Id="rId9" Type="http://schemas.openxmlformats.org/officeDocument/2006/relationships/image" Target="../media/image26.pn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0.xml"/><Relationship Id="rId6" Type="http://schemas.openxmlformats.org/officeDocument/2006/relationships/image" Target="../media/image11.jpeg"/><Relationship Id="rId5" Type="http://schemas.openxmlformats.org/officeDocument/2006/relationships/image" Target="../media/image6.sv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1.xml"/><Relationship Id="rId5" Type="http://schemas.openxmlformats.org/officeDocument/2006/relationships/image" Target="../media/image6.sv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2.sv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32.jpeg"/><Relationship Id="rId5" Type="http://schemas.openxmlformats.org/officeDocument/2006/relationships/image" Target="../media/image31.sv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2.sv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37.svg"/><Relationship Id="rId4" Type="http://schemas.openxmlformats.org/officeDocument/2006/relationships/image" Target="../media/image36.emf"/></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37.xml"/><Relationship Id="rId5" Type="http://schemas.openxmlformats.org/officeDocument/2006/relationships/image" Target="../media/image6.svg"/><Relationship Id="rId4" Type="http://schemas.openxmlformats.org/officeDocument/2006/relationships/image" Target="../media/image36.emf"/></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2.sv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38.xml"/><Relationship Id="rId5" Type="http://schemas.openxmlformats.org/officeDocument/2006/relationships/image" Target="../media/image42.svg"/><Relationship Id="rId4" Type="http://schemas.openxmlformats.org/officeDocument/2006/relationships/image" Target="../media/image43.emf"/></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2.sv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22551940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542828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929476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4003740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446958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1276912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1634750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26159388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4576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EFAULT">
  <p:cSld name="DEFAULT">
    <p:bg>
      <p:bgPr>
        <a:solidFill>
          <a:schemeClr val="lt1"/>
        </a:solidFill>
        <a:effectLst/>
      </p:bgPr>
    </p:bg>
    <p:spTree>
      <p:nvGrpSpPr>
        <p:cNvPr id="1" name="Shape 6"/>
        <p:cNvGrpSpPr/>
        <p:nvPr/>
      </p:nvGrpSpPr>
      <p:grpSpPr>
        <a:xfrm>
          <a:off x="0" y="0"/>
          <a:ext cx="0" cy="0"/>
          <a:chOff x="0" y="0"/>
          <a:chExt cx="0" cy="0"/>
        </a:xfrm>
      </p:grpSpPr>
    </p:spTree>
    <p:extLst>
      <p:ext uri="{BB962C8B-B14F-4D97-AF65-F5344CB8AC3E}">
        <p14:creationId xmlns:p14="http://schemas.microsoft.com/office/powerpoint/2010/main" val="32393855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0406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gradFill>
            <a:gsLst>
              <a:gs pos="15000">
                <a:srgbClr val="140B42"/>
              </a:gs>
              <a:gs pos="80000">
                <a:srgbClr val="005587"/>
              </a:gs>
            </a:gsLst>
            <a:lin ang="2700000" scaled="0"/>
          </a:gradFill>
          <a:ln w="12700" cap="flat" cmpd="sng" algn="ctr">
            <a:noFill/>
            <a:prstDash val="solid"/>
            <a:miter lim="800000"/>
          </a:ln>
          <a:effectLst/>
        </p:spPr>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a:t>
            </a:r>
            <a:b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b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the United States, the European Union, and various other countries. </a:t>
            </a:r>
          </a:p>
        </p:txBody>
      </p:sp>
      <p:sp>
        <p:nvSpPr>
          <p:cNvPr id="29" name="Picture Placeholder 28">
            <a:extLst>
              <a:ext uri="{FF2B5EF4-FFF2-40B4-BE49-F238E27FC236}">
                <a16:creationId xmlns:a16="http://schemas.microsoft.com/office/drawing/2014/main" id="{ABDF996A-067F-C41E-7B0E-6CA1AB5BF3DB}"/>
              </a:ext>
            </a:extLst>
          </p:cNvPr>
          <p:cNvSpPr>
            <a:spLocks noGrp="1"/>
          </p:cNvSpPr>
          <p:nvPr>
            <p:ph type="pic" sz="quarter" idx="16" hasCustomPrompt="1"/>
          </p:nvPr>
        </p:nvSpPr>
        <p:spPr>
          <a:xfrm>
            <a:off x="3165812" y="0"/>
            <a:ext cx="9026188" cy="6858000"/>
          </a:xfrm>
          <a:custGeom>
            <a:avLst/>
            <a:gdLst>
              <a:gd name="connsiteX0" fmla="*/ 0 w 9026188"/>
              <a:gd name="connsiteY0" fmla="*/ 0 h 6858000"/>
              <a:gd name="connsiteX1" fmla="*/ 9026188 w 9026188"/>
              <a:gd name="connsiteY1" fmla="*/ 0 h 6858000"/>
              <a:gd name="connsiteX2" fmla="*/ 9026188 w 9026188"/>
              <a:gd name="connsiteY2" fmla="*/ 6858000 h 6858000"/>
              <a:gd name="connsiteX3" fmla="*/ 0 w 9026188"/>
              <a:gd name="connsiteY3" fmla="*/ 6858000 h 6858000"/>
              <a:gd name="connsiteX4" fmla="*/ 3429000 w 9026188"/>
              <a:gd name="connsiteY4" fmla="*/ 3429000 h 6858000"/>
              <a:gd name="connsiteX5" fmla="*/ 0 w 902618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188" h="6858000">
                <a:moveTo>
                  <a:pt x="0" y="0"/>
                </a:moveTo>
                <a:lnTo>
                  <a:pt x="9026188" y="0"/>
                </a:lnTo>
                <a:lnTo>
                  <a:pt x="9026188" y="6858000"/>
                </a:ln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14" name="Text Placeholder 13">
            <a:extLst>
              <a:ext uri="{FF2B5EF4-FFF2-40B4-BE49-F238E27FC236}">
                <a16:creationId xmlns:a16="http://schemas.microsoft.com/office/drawing/2014/main" id="{C88A32BA-45AE-C130-28F4-09992A9871F3}"/>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8457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37127466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82581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2F88DAF-07DE-80FF-028B-5A5FF467DA01}"/>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8E4AD-69DF-58FE-0B96-906A5A61D577}"/>
              </a:ext>
            </a:extLst>
          </p:cNvPr>
          <p:cNvSpPr/>
          <p:nvPr userDrawn="1"/>
        </p:nvSpPr>
        <p:spPr>
          <a:xfrm>
            <a:off x="0" y="0"/>
            <a:ext cx="6721812" cy="6858000"/>
          </a:xfrm>
          <a:custGeom>
            <a:avLst/>
            <a:gdLst>
              <a:gd name="connsiteX0" fmla="*/ 0 w 6721812"/>
              <a:gd name="connsiteY0" fmla="*/ 0 h 6858000"/>
              <a:gd name="connsiteX1" fmla="*/ 3292812 w 6721812"/>
              <a:gd name="connsiteY1" fmla="*/ 0 h 6858000"/>
              <a:gd name="connsiteX2" fmla="*/ 6721812 w 6721812"/>
              <a:gd name="connsiteY2" fmla="*/ 3429000 h 6858000"/>
              <a:gd name="connsiteX3" fmla="*/ 3292812 w 6721812"/>
              <a:gd name="connsiteY3" fmla="*/ 6858000 h 6858000"/>
              <a:gd name="connsiteX4" fmla="*/ 0 w 67218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1812" h="6858000">
                <a:moveTo>
                  <a:pt x="0" y="0"/>
                </a:moveTo>
                <a:lnTo>
                  <a:pt x="3292812" y="0"/>
                </a:lnTo>
                <a:cubicBezTo>
                  <a:pt x="5186596" y="0"/>
                  <a:pt x="6721812" y="1535216"/>
                  <a:pt x="6721812" y="3429000"/>
                </a:cubicBezTo>
                <a:cubicBezTo>
                  <a:pt x="6721812" y="5322784"/>
                  <a:pt x="5186596" y="6858000"/>
                  <a:pt x="3292812" y="6858000"/>
                </a:cubicBezTo>
                <a:lnTo>
                  <a:pt x="0" y="6858000"/>
                </a:lnTo>
                <a:close/>
              </a:path>
            </a:pathLst>
          </a:custGeom>
          <a:solidFill>
            <a:schemeClr val="bg1"/>
          </a:solidFill>
          <a:ln w="12700" cap="flat" cmpd="sng" algn="ctr">
            <a:noFill/>
            <a:prstDash val="solid"/>
            <a:miter lim="800000"/>
          </a:ln>
          <a:effectLst/>
        </p:spPr>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7" name="Graphic 6">
            <a:extLst>
              <a:ext uri="{FF2B5EF4-FFF2-40B4-BE49-F238E27FC236}">
                <a16:creationId xmlns:a16="http://schemas.microsoft.com/office/drawing/2014/main" id="{04B04B80-80CE-36B4-5E68-7C5247F8CDE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4513255"/>
            <a:ext cx="4617521"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229205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2" name="TextBox 11">
            <a:extLst>
              <a:ext uri="{FF2B5EF4-FFF2-40B4-BE49-F238E27FC236}">
                <a16:creationId xmlns:a16="http://schemas.microsoft.com/office/drawing/2014/main" id="{88EE512E-9360-9E00-6B81-4F648325B9E9}"/>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a:t>
            </a:r>
            <a:b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b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the United States, the European Union, and various other countries. </a:t>
            </a:r>
          </a:p>
        </p:txBody>
      </p:sp>
      <p:sp>
        <p:nvSpPr>
          <p:cNvPr id="38" name="Picture Placeholder 37">
            <a:extLst>
              <a:ext uri="{FF2B5EF4-FFF2-40B4-BE49-F238E27FC236}">
                <a16:creationId xmlns:a16="http://schemas.microsoft.com/office/drawing/2014/main" id="{1B0524C2-AB74-83EE-C93A-A95B62225BD0}"/>
              </a:ext>
            </a:extLst>
          </p:cNvPr>
          <p:cNvSpPr>
            <a:spLocks noGrp="1"/>
          </p:cNvSpPr>
          <p:nvPr>
            <p:ph type="pic" sz="quarter" idx="14" hasCustomPrompt="1"/>
          </p:nvPr>
        </p:nvSpPr>
        <p:spPr>
          <a:xfrm>
            <a:off x="3267412" y="0"/>
            <a:ext cx="6434847" cy="6858000"/>
          </a:xfrm>
          <a:custGeom>
            <a:avLst/>
            <a:gdLst>
              <a:gd name="connsiteX0" fmla="*/ 0 w 6434847"/>
              <a:gd name="connsiteY0" fmla="*/ 0 h 6858000"/>
              <a:gd name="connsiteX1" fmla="*/ 3005847 w 6434847"/>
              <a:gd name="connsiteY1" fmla="*/ 0 h 6858000"/>
              <a:gd name="connsiteX2" fmla="*/ 6434847 w 6434847"/>
              <a:gd name="connsiteY2" fmla="*/ 3429000 h 6858000"/>
              <a:gd name="connsiteX3" fmla="*/ 3005847 w 6434847"/>
              <a:gd name="connsiteY3" fmla="*/ 6858000 h 6858000"/>
              <a:gd name="connsiteX4" fmla="*/ 0 w 6434847"/>
              <a:gd name="connsiteY4" fmla="*/ 6858000 h 6858000"/>
              <a:gd name="connsiteX5" fmla="*/ 3429000 w 6434847"/>
              <a:gd name="connsiteY5" fmla="*/ 3429000 h 6858000"/>
              <a:gd name="connsiteX6" fmla="*/ 0 w 643484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4847" h="6858000">
                <a:moveTo>
                  <a:pt x="0" y="0"/>
                </a:moveTo>
                <a:lnTo>
                  <a:pt x="3005847" y="0"/>
                </a:lnTo>
                <a:cubicBezTo>
                  <a:pt x="4899631" y="0"/>
                  <a:pt x="6434847" y="1535216"/>
                  <a:pt x="6434847" y="3429000"/>
                </a:cubicBezTo>
                <a:cubicBezTo>
                  <a:pt x="6434847" y="5322784"/>
                  <a:pt x="4899631" y="6858000"/>
                  <a:pt x="3005847" y="6858000"/>
                </a:cubicBezTo>
                <a:lnTo>
                  <a:pt x="0" y="6858000"/>
                </a:lnTo>
                <a:cubicBezTo>
                  <a:pt x="1893784" y="6858000"/>
                  <a:pt x="3429000" y="5322784"/>
                  <a:pt x="3429000" y="3429000"/>
                </a:cubicBezTo>
                <a:cubicBezTo>
                  <a:pt x="3429000" y="1535216"/>
                  <a:pt x="1893784" y="0"/>
                  <a:pt x="0" y="0"/>
                </a:cubicBezTo>
                <a:close/>
              </a:path>
            </a:pathLst>
          </a:custGeom>
          <a:blipFill>
            <a:blip r:embed="rId6"/>
            <a:stretch>
              <a:fillRect/>
            </a:stretch>
          </a:blipFill>
        </p:spPr>
        <p:txBody>
          <a:bodyPr wrap="square" lIns="3749040" anchor="ctr">
            <a:noAutofit/>
          </a:bodyPr>
          <a:lstStyle>
            <a:lvl1pPr marL="0" indent="0" algn="r">
              <a:buNone/>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9" name="Text Placeholder 13">
            <a:extLst>
              <a:ext uri="{FF2B5EF4-FFF2-40B4-BE49-F238E27FC236}">
                <a16:creationId xmlns:a16="http://schemas.microsoft.com/office/drawing/2014/main" id="{EC55EDFF-03EC-F7FE-A5CE-E9171F0FDEE1}"/>
              </a:ext>
            </a:extLst>
          </p:cNvPr>
          <p:cNvSpPr>
            <a:spLocks noGrp="1"/>
          </p:cNvSpPr>
          <p:nvPr>
            <p:ph type="body" sz="quarter" idx="17" hasCustomPrompt="1"/>
          </p:nvPr>
        </p:nvSpPr>
        <p:spPr>
          <a:xfrm>
            <a:off x="560269" y="5680710"/>
            <a:ext cx="4617521"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6216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64341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19149D81-FD4B-DC76-CAF0-EE426536CA3B}"/>
              </a:ext>
            </a:extLst>
          </p:cNvPr>
          <p:cNvSpPr>
            <a:spLocks noGrp="1"/>
          </p:cNvSpPr>
          <p:nvPr>
            <p:ph type="pic" sz="quarter" idx="16" hasCustomPrompt="1"/>
          </p:nvPr>
        </p:nvSpPr>
        <p:spPr>
          <a:xfrm>
            <a:off x="7198473" y="2"/>
            <a:ext cx="4993529" cy="6857999"/>
          </a:xfrm>
          <a:custGeom>
            <a:avLst/>
            <a:gdLst>
              <a:gd name="connsiteX0" fmla="*/ 1703159 w 4993529"/>
              <a:gd name="connsiteY0" fmla="*/ 0 h 6857999"/>
              <a:gd name="connsiteX1" fmla="*/ 4993529 w 4993529"/>
              <a:gd name="connsiteY1" fmla="*/ 0 h 6857999"/>
              <a:gd name="connsiteX2" fmla="*/ 4993529 w 4993529"/>
              <a:gd name="connsiteY2" fmla="*/ 6857999 h 6857999"/>
              <a:gd name="connsiteX3" fmla="*/ 1703166 w 4993529"/>
              <a:gd name="connsiteY3" fmla="*/ 6857999 h 6857999"/>
              <a:gd name="connsiteX4" fmla="*/ 1566432 w 4993529"/>
              <a:gd name="connsiteY4" fmla="*/ 6750547 h 6857999"/>
              <a:gd name="connsiteX5" fmla="*/ 0 w 4993529"/>
              <a:gd name="connsiteY5" fmla="*/ 3428996 h 6857999"/>
              <a:gd name="connsiteX6" fmla="*/ 1566433 w 4993529"/>
              <a:gd name="connsiteY6" fmla="*/ 10744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3529" h="6857999">
                <a:moveTo>
                  <a:pt x="1703159" y="0"/>
                </a:moveTo>
                <a:lnTo>
                  <a:pt x="4993529" y="0"/>
                </a:lnTo>
                <a:lnTo>
                  <a:pt x="4993529" y="6857999"/>
                </a:lnTo>
                <a:lnTo>
                  <a:pt x="1703166" y="6857999"/>
                </a:lnTo>
                <a:lnTo>
                  <a:pt x="1566432" y="6750547"/>
                </a:lnTo>
                <a:cubicBezTo>
                  <a:pt x="609773" y="5961041"/>
                  <a:pt x="0" y="4766229"/>
                  <a:pt x="0" y="3428996"/>
                </a:cubicBezTo>
                <a:cubicBezTo>
                  <a:pt x="1" y="2091763"/>
                  <a:pt x="609775" y="896951"/>
                  <a:pt x="1566433" y="107445"/>
                </a:cubicBezTo>
                <a:close/>
              </a:path>
            </a:pathLst>
          </a:custGeom>
          <a:blipFill>
            <a:blip r:embed="rId5"/>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8" y="3669831"/>
            <a:ext cx="5578912" cy="954942"/>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sentence case</a:t>
            </a: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469099"/>
            <a:ext cx="5578912"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1383229" y="83754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62" name="Graphic 61">
            <a:extLst>
              <a:ext uri="{FF2B5EF4-FFF2-40B4-BE49-F238E27FC236}">
                <a16:creationId xmlns:a16="http://schemas.microsoft.com/office/drawing/2014/main" id="{734FFF4D-C595-1C02-3284-439FA4259BB6}"/>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17" name="TextBox 16">
            <a:extLst>
              <a:ext uri="{FF2B5EF4-FFF2-40B4-BE49-F238E27FC236}">
                <a16:creationId xmlns:a16="http://schemas.microsoft.com/office/drawing/2014/main" id="{05D16DF4-1248-421F-6EC8-178149D3D334}"/>
              </a:ext>
            </a:extLst>
          </p:cNvPr>
          <p:cNvSpPr txBox="1"/>
          <p:nvPr userDrawn="1"/>
        </p:nvSpPr>
        <p:spPr bwMode="black">
          <a:xfrm>
            <a:off x="5602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sp>
        <p:nvSpPr>
          <p:cNvPr id="18" name="Rectangle: Top Corners Rounded 17">
            <a:extLst>
              <a:ext uri="{FF2B5EF4-FFF2-40B4-BE49-F238E27FC236}">
                <a16:creationId xmlns:a16="http://schemas.microsoft.com/office/drawing/2014/main" id="{0A5D0DDA-43DE-B7ED-926F-B2A9412B7D7B}"/>
              </a:ext>
            </a:extLst>
          </p:cNvPr>
          <p:cNvSpPr/>
          <p:nvPr userDrawn="1"/>
        </p:nvSpPr>
        <p:spPr>
          <a:xfrm rot="5400000">
            <a:off x="361950" y="349250"/>
            <a:ext cx="551180" cy="127508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Text Placeholder 13">
            <a:extLst>
              <a:ext uri="{FF2B5EF4-FFF2-40B4-BE49-F238E27FC236}">
                <a16:creationId xmlns:a16="http://schemas.microsoft.com/office/drawing/2014/main" id="{840BC821-F126-C42A-9321-67F78D8191C2}"/>
              </a:ext>
            </a:extLst>
          </p:cNvPr>
          <p:cNvSpPr>
            <a:spLocks noGrp="1"/>
          </p:cNvSpPr>
          <p:nvPr>
            <p:ph type="body" sz="quarter" idx="17" hasCustomPrompt="1"/>
          </p:nvPr>
        </p:nvSpPr>
        <p:spPr>
          <a:xfrm>
            <a:off x="560268" y="4736677"/>
            <a:ext cx="5578912" cy="507026"/>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8679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9444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ADE7A219-BFB8-A500-5B97-DA711CAAB05D}"/>
              </a:ext>
            </a:extLst>
          </p:cNvPr>
          <p:cNvSpPr/>
          <p:nvPr userDrawn="1"/>
        </p:nvSpPr>
        <p:spPr>
          <a:xfrm>
            <a:off x="-2" y="-1"/>
            <a:ext cx="121920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Title 1">
            <a:extLst>
              <a:ext uri="{FF2B5EF4-FFF2-40B4-BE49-F238E27FC236}">
                <a16:creationId xmlns:a16="http://schemas.microsoft.com/office/drawing/2014/main" id="{519B719F-790C-1D24-3B52-3CAD939B0C2D}"/>
              </a:ext>
            </a:extLst>
          </p:cNvPr>
          <p:cNvSpPr>
            <a:spLocks noGrp="1"/>
          </p:cNvSpPr>
          <p:nvPr>
            <p:ph type="ctrTitle" hasCustomPrompt="1"/>
          </p:nvPr>
        </p:nvSpPr>
        <p:spPr>
          <a:xfrm>
            <a:off x="560269" y="1185957"/>
            <a:ext cx="5198505"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11" name="Subtitle 2">
            <a:extLst>
              <a:ext uri="{FF2B5EF4-FFF2-40B4-BE49-F238E27FC236}">
                <a16:creationId xmlns:a16="http://schemas.microsoft.com/office/drawing/2014/main" id="{773AE45F-3592-3C42-FFE9-84090A2D6827}"/>
              </a:ext>
            </a:extLst>
          </p:cNvPr>
          <p:cNvSpPr>
            <a:spLocks noGrp="1"/>
          </p:cNvSpPr>
          <p:nvPr>
            <p:ph type="subTitle" idx="1" hasCustomPrompt="1"/>
          </p:nvPr>
        </p:nvSpPr>
        <p:spPr>
          <a:xfrm>
            <a:off x="560269" y="5683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5" name="Graphic 4">
            <a:extLst>
              <a:ext uri="{FF2B5EF4-FFF2-40B4-BE49-F238E27FC236}">
                <a16:creationId xmlns:a16="http://schemas.microsoft.com/office/drawing/2014/main" id="{353F45A5-691A-331A-0A5E-EF9DC3E5E9D0}"/>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10042" y="5757573"/>
            <a:ext cx="2212298" cy="399963"/>
          </a:xfrm>
          <a:prstGeom prst="rect">
            <a:avLst/>
          </a:prstGeom>
        </p:spPr>
      </p:pic>
      <p:sp>
        <p:nvSpPr>
          <p:cNvPr id="21" name="Rectangle: Top Corners Rounded 20">
            <a:extLst>
              <a:ext uri="{FF2B5EF4-FFF2-40B4-BE49-F238E27FC236}">
                <a16:creationId xmlns:a16="http://schemas.microsoft.com/office/drawing/2014/main" id="{990F88C9-134E-565F-6E26-6417D9962BB5}"/>
              </a:ext>
            </a:extLst>
          </p:cNvPr>
          <p:cNvSpPr/>
          <p:nvPr userDrawn="1"/>
        </p:nvSpPr>
        <p:spPr>
          <a:xfrm rot="5400000">
            <a:off x="1858678" y="1846115"/>
            <a:ext cx="1127091" cy="4844450"/>
          </a:xfrm>
          <a:prstGeom prst="round2SameRect">
            <a:avLst>
              <a:gd name="adj1" fmla="val 50000"/>
              <a:gd name="adj2" fmla="val 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8" name="Text Placeholder 21">
            <a:extLst>
              <a:ext uri="{FF2B5EF4-FFF2-40B4-BE49-F238E27FC236}">
                <a16:creationId xmlns:a16="http://schemas.microsoft.com/office/drawing/2014/main" id="{E633C580-0093-922F-AB79-1F914A15749E}"/>
              </a:ext>
            </a:extLst>
          </p:cNvPr>
          <p:cNvSpPr>
            <a:spLocks noGrp="1"/>
          </p:cNvSpPr>
          <p:nvPr>
            <p:ph type="body" sz="quarter" idx="11" hasCustomPrompt="1"/>
          </p:nvPr>
        </p:nvSpPr>
        <p:spPr>
          <a:xfrm>
            <a:off x="560269" y="3696104"/>
            <a:ext cx="4187369" cy="1139792"/>
          </a:xfrm>
          <a:prstGeom prst="rect">
            <a:avLst/>
          </a:prstGeom>
        </p:spPr>
        <p:txBody>
          <a:bodyPr anchor="ctr">
            <a:noAutofit/>
          </a:bodyPr>
          <a:lstStyle>
            <a:lvl1pPr marL="0" indent="0" algn="l">
              <a:lnSpc>
                <a:spcPct val="100000"/>
              </a:lnSpc>
              <a:spcBef>
                <a:spcPts val="0"/>
              </a:spcBef>
              <a:buNone/>
              <a:defRPr sz="2000" b="0" i="0">
                <a:solidFill>
                  <a:schemeClr val="tx2"/>
                </a:solidFill>
                <a:latin typeface="+mj-lt"/>
              </a:defRPr>
            </a:lvl1pPr>
          </a:lstStyle>
          <a:p>
            <a:pPr lvl="0"/>
            <a:r>
              <a:rPr lang="en-US"/>
              <a:t>Subheads are 20pt Noto Sans sentence case</a:t>
            </a:r>
          </a:p>
        </p:txBody>
      </p:sp>
      <p:sp>
        <p:nvSpPr>
          <p:cNvPr id="23" name="TextBox 22">
            <a:extLst>
              <a:ext uri="{FF2B5EF4-FFF2-40B4-BE49-F238E27FC236}">
                <a16:creationId xmlns:a16="http://schemas.microsoft.com/office/drawing/2014/main" id="{740A9D05-7CC8-8C49-7E62-59B4C4A868D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the United States, the European Union, and various other countries. </a:t>
            </a:r>
          </a:p>
        </p:txBody>
      </p:sp>
      <p:sp>
        <p:nvSpPr>
          <p:cNvPr id="28" name="Freeform: Shape 27">
            <a:extLst>
              <a:ext uri="{FF2B5EF4-FFF2-40B4-BE49-F238E27FC236}">
                <a16:creationId xmlns:a16="http://schemas.microsoft.com/office/drawing/2014/main" id="{236EA6A8-471B-A5CE-D31B-50ED62AD5F2C}"/>
              </a:ext>
            </a:extLst>
          </p:cNvPr>
          <p:cNvSpPr/>
          <p:nvPr userDrawn="1"/>
        </p:nvSpPr>
        <p:spPr>
          <a:xfrm>
            <a:off x="11385549" y="2754630"/>
            <a:ext cx="806451" cy="1520190"/>
          </a:xfrm>
          <a:custGeom>
            <a:avLst/>
            <a:gdLst>
              <a:gd name="connsiteX0" fmla="*/ 760095 w 806451"/>
              <a:gd name="connsiteY0" fmla="*/ 0 h 1520190"/>
              <a:gd name="connsiteX1" fmla="*/ 806451 w 806451"/>
              <a:gd name="connsiteY1" fmla="*/ 0 h 1520190"/>
              <a:gd name="connsiteX2" fmla="*/ 806451 w 806451"/>
              <a:gd name="connsiteY2" fmla="*/ 1520190 h 1520190"/>
              <a:gd name="connsiteX3" fmla="*/ 760095 w 806451"/>
              <a:gd name="connsiteY3" fmla="*/ 1520190 h 1520190"/>
              <a:gd name="connsiteX4" fmla="*/ 0 w 806451"/>
              <a:gd name="connsiteY4" fmla="*/ 760095 h 1520190"/>
              <a:gd name="connsiteX5" fmla="*/ 760095 w 806451"/>
              <a:gd name="connsiteY5" fmla="*/ 0 h 152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1" h="1520190">
                <a:moveTo>
                  <a:pt x="760095" y="0"/>
                </a:moveTo>
                <a:lnTo>
                  <a:pt x="806451" y="0"/>
                </a:lnTo>
                <a:lnTo>
                  <a:pt x="806451" y="1520190"/>
                </a:lnTo>
                <a:lnTo>
                  <a:pt x="760095" y="1520190"/>
                </a:lnTo>
                <a:cubicBezTo>
                  <a:pt x="340306" y="1520190"/>
                  <a:pt x="0" y="1179884"/>
                  <a:pt x="0" y="760095"/>
                </a:cubicBezTo>
                <a:cubicBezTo>
                  <a:pt x="0" y="340306"/>
                  <a:pt x="340306" y="0"/>
                  <a:pt x="760095" y="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9" name="Oval 28">
            <a:extLst>
              <a:ext uri="{FF2B5EF4-FFF2-40B4-BE49-F238E27FC236}">
                <a16:creationId xmlns:a16="http://schemas.microsoft.com/office/drawing/2014/main" id="{9AB1090A-172E-249E-20D1-9ED6F9778154}"/>
              </a:ext>
            </a:extLst>
          </p:cNvPr>
          <p:cNvSpPr/>
          <p:nvPr userDrawn="1"/>
        </p:nvSpPr>
        <p:spPr>
          <a:xfrm>
            <a:off x="8154670" y="3101975"/>
            <a:ext cx="825500" cy="825500"/>
          </a:xfrm>
          <a:prstGeom prst="ellipse">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7" name="Rectangle: Rounded Corners 36">
            <a:extLst>
              <a:ext uri="{FF2B5EF4-FFF2-40B4-BE49-F238E27FC236}">
                <a16:creationId xmlns:a16="http://schemas.microsoft.com/office/drawing/2014/main" id="{E78834BD-6122-8897-155C-7D8AAA482567}"/>
              </a:ext>
            </a:extLst>
          </p:cNvPr>
          <p:cNvSpPr/>
          <p:nvPr userDrawn="1"/>
        </p:nvSpPr>
        <p:spPr>
          <a:xfrm>
            <a:off x="5938520" y="882316"/>
            <a:ext cx="2494280" cy="963930"/>
          </a:xfrm>
          <a:prstGeom prst="roundRect">
            <a:avLst>
              <a:gd name="adj" fmla="val 50000"/>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2" name="Freeform: Shape 41">
            <a:extLst>
              <a:ext uri="{FF2B5EF4-FFF2-40B4-BE49-F238E27FC236}">
                <a16:creationId xmlns:a16="http://schemas.microsoft.com/office/drawing/2014/main" id="{3536A388-F38A-423D-0271-552744C160CC}"/>
              </a:ext>
            </a:extLst>
          </p:cNvPr>
          <p:cNvSpPr/>
          <p:nvPr userDrawn="1"/>
        </p:nvSpPr>
        <p:spPr>
          <a:xfrm>
            <a:off x="10173970" y="5084778"/>
            <a:ext cx="2018031" cy="782320"/>
          </a:xfrm>
          <a:custGeom>
            <a:avLst/>
            <a:gdLst>
              <a:gd name="connsiteX0" fmla="*/ 391160 w 2018031"/>
              <a:gd name="connsiteY0" fmla="*/ 0 h 782320"/>
              <a:gd name="connsiteX1" fmla="*/ 2018031 w 2018031"/>
              <a:gd name="connsiteY1" fmla="*/ 0 h 782320"/>
              <a:gd name="connsiteX2" fmla="*/ 2018031 w 2018031"/>
              <a:gd name="connsiteY2" fmla="*/ 782320 h 782320"/>
              <a:gd name="connsiteX3" fmla="*/ 391160 w 2018031"/>
              <a:gd name="connsiteY3" fmla="*/ 782320 h 782320"/>
              <a:gd name="connsiteX4" fmla="*/ 0 w 2018031"/>
              <a:gd name="connsiteY4" fmla="*/ 391160 h 782320"/>
              <a:gd name="connsiteX5" fmla="*/ 391160 w 2018031"/>
              <a:gd name="connsiteY5" fmla="*/ 0 h 782320"/>
              <a:gd name="connsiteX0" fmla="*/ 2018031 w 2109471"/>
              <a:gd name="connsiteY0" fmla="*/ 782320 h 873760"/>
              <a:gd name="connsiteX1" fmla="*/ 391160 w 2109471"/>
              <a:gd name="connsiteY1" fmla="*/ 782320 h 873760"/>
              <a:gd name="connsiteX2" fmla="*/ 0 w 2109471"/>
              <a:gd name="connsiteY2" fmla="*/ 391160 h 873760"/>
              <a:gd name="connsiteX3" fmla="*/ 391160 w 2109471"/>
              <a:gd name="connsiteY3" fmla="*/ 0 h 873760"/>
              <a:gd name="connsiteX4" fmla="*/ 2018031 w 2109471"/>
              <a:gd name="connsiteY4" fmla="*/ 0 h 873760"/>
              <a:gd name="connsiteX5" fmla="*/ 2109471 w 2109471"/>
              <a:gd name="connsiteY5" fmla="*/ 873760 h 873760"/>
              <a:gd name="connsiteX0" fmla="*/ 2018031 w 2018031"/>
              <a:gd name="connsiteY0" fmla="*/ 782320 h 782320"/>
              <a:gd name="connsiteX1" fmla="*/ 391160 w 2018031"/>
              <a:gd name="connsiteY1" fmla="*/ 782320 h 782320"/>
              <a:gd name="connsiteX2" fmla="*/ 0 w 2018031"/>
              <a:gd name="connsiteY2" fmla="*/ 391160 h 782320"/>
              <a:gd name="connsiteX3" fmla="*/ 391160 w 2018031"/>
              <a:gd name="connsiteY3" fmla="*/ 0 h 782320"/>
              <a:gd name="connsiteX4" fmla="*/ 2018031 w 2018031"/>
              <a:gd name="connsiteY4" fmla="*/ 0 h 78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031" h="782320">
                <a:moveTo>
                  <a:pt x="2018031" y="782320"/>
                </a:moveTo>
                <a:lnTo>
                  <a:pt x="391160" y="782320"/>
                </a:lnTo>
                <a:cubicBezTo>
                  <a:pt x="175128" y="782320"/>
                  <a:pt x="0" y="607192"/>
                  <a:pt x="0" y="391160"/>
                </a:cubicBezTo>
                <a:cubicBezTo>
                  <a:pt x="0" y="175128"/>
                  <a:pt x="175128" y="0"/>
                  <a:pt x="391160" y="0"/>
                </a:cubicBezTo>
                <a:lnTo>
                  <a:pt x="2018031" y="0"/>
                </a:lnTo>
              </a:path>
            </a:pathLst>
          </a:cu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58" name="Picture Placeholder 57">
            <a:extLst>
              <a:ext uri="{FF2B5EF4-FFF2-40B4-BE49-F238E27FC236}">
                <a16:creationId xmlns:a16="http://schemas.microsoft.com/office/drawing/2014/main" id="{4B3972EC-C773-5A43-FB97-099CB4BCD367}"/>
              </a:ext>
            </a:extLst>
          </p:cNvPr>
          <p:cNvSpPr>
            <a:spLocks noGrp="1"/>
          </p:cNvSpPr>
          <p:nvPr>
            <p:ph type="pic" sz="quarter" idx="14" hasCustomPrompt="1"/>
          </p:nvPr>
        </p:nvSpPr>
        <p:spPr>
          <a:xfrm>
            <a:off x="6022975" y="4600908"/>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0" name="Picture Placeholder 59">
            <a:extLst>
              <a:ext uri="{FF2B5EF4-FFF2-40B4-BE49-F238E27FC236}">
                <a16:creationId xmlns:a16="http://schemas.microsoft.com/office/drawing/2014/main" id="{21C08761-BCFD-2804-56C5-147560B27512}"/>
              </a:ext>
            </a:extLst>
          </p:cNvPr>
          <p:cNvSpPr>
            <a:spLocks noGrp="1"/>
          </p:cNvSpPr>
          <p:nvPr>
            <p:ph type="pic" sz="quarter" idx="15" hasCustomPrompt="1"/>
          </p:nvPr>
        </p:nvSpPr>
        <p:spPr>
          <a:xfrm>
            <a:off x="9511025" y="2779604"/>
            <a:ext cx="1470242" cy="1470242"/>
          </a:xfrm>
          <a:prstGeom prst="ellipse">
            <a:avLst/>
          </a:prstGeom>
          <a:blipFill>
            <a:blip r:embed="rId7"/>
            <a:stretch>
              <a:fillRect/>
            </a:stretch>
          </a:blipFill>
        </p:spPr>
        <p:txBody>
          <a:bodyPr wrap="none"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b="1" kern="1200" dirty="0">
                <a:solidFill>
                  <a:srgbClr val="DA291C"/>
                </a:solidFill>
                <a:latin typeface="+mn-lt"/>
                <a:ea typeface="+mn-ea"/>
                <a:cs typeface="+mn-cs"/>
              </a:defRPr>
            </a:lvl1pPr>
          </a:lstStyle>
          <a:p>
            <a:r>
              <a:rPr lang="en-US"/>
              <a:t>Click to </a:t>
            </a:r>
            <a:br>
              <a:rPr lang="en-US"/>
            </a:br>
            <a:r>
              <a:rPr lang="en-US"/>
              <a:t>add image</a:t>
            </a:r>
          </a:p>
        </p:txBody>
      </p:sp>
      <p:sp>
        <p:nvSpPr>
          <p:cNvPr id="7" name="Picture Placeholder 6">
            <a:extLst>
              <a:ext uri="{FF2B5EF4-FFF2-40B4-BE49-F238E27FC236}">
                <a16:creationId xmlns:a16="http://schemas.microsoft.com/office/drawing/2014/main" id="{7A93C421-0BFF-D458-4C46-91C277AFC2F7}"/>
              </a:ext>
            </a:extLst>
          </p:cNvPr>
          <p:cNvSpPr>
            <a:spLocks noGrp="1"/>
          </p:cNvSpPr>
          <p:nvPr>
            <p:ph type="pic" sz="quarter" idx="16" hasCustomPrompt="1"/>
          </p:nvPr>
        </p:nvSpPr>
        <p:spPr>
          <a:xfrm>
            <a:off x="7569200" y="488950"/>
            <a:ext cx="3587750" cy="1750662"/>
          </a:xfrm>
          <a:custGeom>
            <a:avLst/>
            <a:gdLst>
              <a:gd name="connsiteX0" fmla="*/ 875331 w 3587750"/>
              <a:gd name="connsiteY0" fmla="*/ 0 h 1750662"/>
              <a:gd name="connsiteX1" fmla="*/ 2712419 w 3587750"/>
              <a:gd name="connsiteY1" fmla="*/ 0 h 1750662"/>
              <a:gd name="connsiteX2" fmla="*/ 3587750 w 3587750"/>
              <a:gd name="connsiteY2" fmla="*/ 875331 h 1750662"/>
              <a:gd name="connsiteX3" fmla="*/ 2712419 w 3587750"/>
              <a:gd name="connsiteY3" fmla="*/ 1750662 h 1750662"/>
              <a:gd name="connsiteX4" fmla="*/ 875331 w 3587750"/>
              <a:gd name="connsiteY4" fmla="*/ 1750662 h 1750662"/>
              <a:gd name="connsiteX5" fmla="*/ 0 w 3587750"/>
              <a:gd name="connsiteY5" fmla="*/ 875331 h 1750662"/>
              <a:gd name="connsiteX6" fmla="*/ 875331 w 3587750"/>
              <a:gd name="connsiteY6" fmla="*/ 0 h 17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7750" h="1750662">
                <a:moveTo>
                  <a:pt x="875331" y="0"/>
                </a:moveTo>
                <a:lnTo>
                  <a:pt x="2712419" y="0"/>
                </a:lnTo>
                <a:cubicBezTo>
                  <a:pt x="3195851" y="0"/>
                  <a:pt x="3587750" y="391899"/>
                  <a:pt x="3587750" y="875331"/>
                </a:cubicBezTo>
                <a:cubicBezTo>
                  <a:pt x="3587750" y="1358763"/>
                  <a:pt x="3195851" y="1750662"/>
                  <a:pt x="2712419" y="1750662"/>
                </a:cubicBezTo>
                <a:lnTo>
                  <a:pt x="875331" y="1750662"/>
                </a:lnTo>
                <a:cubicBezTo>
                  <a:pt x="391899" y="1750662"/>
                  <a:pt x="0" y="1358763"/>
                  <a:pt x="0" y="875331"/>
                </a:cubicBezTo>
                <a:cubicBezTo>
                  <a:pt x="0" y="391899"/>
                  <a:pt x="391899" y="0"/>
                  <a:pt x="875331" y="0"/>
                </a:cubicBezTo>
                <a:close/>
              </a:path>
            </a:pathLst>
          </a:custGeom>
          <a:blipFill>
            <a:blip r:embed="rId8"/>
            <a:stretch>
              <a:fillRect/>
            </a:stretch>
          </a:blipFill>
        </p:spPr>
        <p:txBody>
          <a:bodyPr wrap="square" lIns="91440" anchor="ctr">
            <a:noAutofit/>
          </a:bodyPr>
          <a:lstStyle>
            <a:lvl1pPr marL="0" indent="0" algn="ctr">
              <a:buNone/>
              <a:defRPr sz="1800" b="1">
                <a:solidFill>
                  <a:srgbClr val="DA291C"/>
                </a:solidFill>
              </a:defRPr>
            </a:lvl1pPr>
          </a:lstStyle>
          <a:p>
            <a:r>
              <a:rPr lang="en-US"/>
              <a:t>Click to add image</a:t>
            </a:r>
          </a:p>
        </p:txBody>
      </p:sp>
      <p:sp>
        <p:nvSpPr>
          <p:cNvPr id="2" name="Text Placeholder 13">
            <a:extLst>
              <a:ext uri="{FF2B5EF4-FFF2-40B4-BE49-F238E27FC236}">
                <a16:creationId xmlns:a16="http://schemas.microsoft.com/office/drawing/2014/main" id="{410DB0DD-3550-AA3A-3964-0928F4F14294}"/>
              </a:ext>
            </a:extLst>
          </p:cNvPr>
          <p:cNvSpPr>
            <a:spLocks noGrp="1"/>
          </p:cNvSpPr>
          <p:nvPr>
            <p:ph type="body" sz="quarter" idx="17" hasCustomPrompt="1"/>
          </p:nvPr>
        </p:nvSpPr>
        <p:spPr>
          <a:xfrm>
            <a:off x="560269" y="4908128"/>
            <a:ext cx="4187369"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85064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140211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2EF3D7E1-E5A6-9F41-9CF8-AAAEB02D2F1C}"/>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 name="Graphic 1">
            <a:extLst>
              <a:ext uri="{FF2B5EF4-FFF2-40B4-BE49-F238E27FC236}">
                <a16:creationId xmlns:a16="http://schemas.microsoft.com/office/drawing/2014/main" id="{DFB796EA-5FE4-C00B-C632-B6DD2037CA9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7" name="Text Placeholder 21">
            <a:extLst>
              <a:ext uri="{FF2B5EF4-FFF2-40B4-BE49-F238E27FC236}">
                <a16:creationId xmlns:a16="http://schemas.microsoft.com/office/drawing/2014/main" id="{12F89F06-2842-6C78-F8B9-DF481DE16163}"/>
              </a:ext>
            </a:extLst>
          </p:cNvPr>
          <p:cNvSpPr>
            <a:spLocks noGrp="1"/>
          </p:cNvSpPr>
          <p:nvPr>
            <p:ph type="body" sz="quarter" idx="11" hasCustomPrompt="1"/>
          </p:nvPr>
        </p:nvSpPr>
        <p:spPr>
          <a:xfrm>
            <a:off x="6948369" y="454542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8" name="Title 1">
            <a:extLst>
              <a:ext uri="{FF2B5EF4-FFF2-40B4-BE49-F238E27FC236}">
                <a16:creationId xmlns:a16="http://schemas.microsoft.com/office/drawing/2014/main" id="{C09011B2-930B-2726-A34F-9595F38F67E6}"/>
              </a:ext>
            </a:extLst>
          </p:cNvPr>
          <p:cNvSpPr>
            <a:spLocks noGrp="1"/>
          </p:cNvSpPr>
          <p:nvPr>
            <p:ph type="ctrTitle" hasCustomPrompt="1"/>
          </p:nvPr>
        </p:nvSpPr>
        <p:spPr>
          <a:xfrm>
            <a:off x="6948369" y="2283169"/>
            <a:ext cx="4849931" cy="2088828"/>
          </a:xfrm>
          <a:prstGeom prst="rect">
            <a:avLst/>
          </a:prstGeom>
        </p:spPr>
        <p:txBody>
          <a:bodyPr vert="horz" anchor="t"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9" name="Subtitle 2">
            <a:extLst>
              <a:ext uri="{FF2B5EF4-FFF2-40B4-BE49-F238E27FC236}">
                <a16:creationId xmlns:a16="http://schemas.microsoft.com/office/drawing/2014/main" id="{817DEC49-9F6E-FEDD-D9A7-746572D694B9}"/>
              </a:ext>
            </a:extLst>
          </p:cNvPr>
          <p:cNvSpPr>
            <a:spLocks noGrp="1"/>
          </p:cNvSpPr>
          <p:nvPr>
            <p:ph type="subTitle" idx="1" hasCustomPrompt="1"/>
          </p:nvPr>
        </p:nvSpPr>
        <p:spPr>
          <a:xfrm>
            <a:off x="6948369" y="174051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4" name="TextBox 13">
            <a:extLst>
              <a:ext uri="{FF2B5EF4-FFF2-40B4-BE49-F238E27FC236}">
                <a16:creationId xmlns:a16="http://schemas.microsoft.com/office/drawing/2014/main" id="{F44FBDBE-CB0C-FA03-27E9-222DD602C14A}"/>
              </a:ext>
            </a:extLst>
          </p:cNvPr>
          <p:cNvSpPr txBox="1"/>
          <p:nvPr userDrawn="1"/>
        </p:nvSpPr>
        <p:spPr bwMode="black">
          <a:xfrm>
            <a:off x="407546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the United States, the European Union, and various other countries. </a:t>
            </a:r>
          </a:p>
        </p:txBody>
      </p:sp>
      <p:grpSp>
        <p:nvGrpSpPr>
          <p:cNvPr id="4" name="Group 3">
            <a:extLst>
              <a:ext uri="{FF2B5EF4-FFF2-40B4-BE49-F238E27FC236}">
                <a16:creationId xmlns:a16="http://schemas.microsoft.com/office/drawing/2014/main" id="{B5787C3C-B50B-409B-D239-AC6FD72699C3}"/>
              </a:ext>
            </a:extLst>
          </p:cNvPr>
          <p:cNvGrpSpPr/>
          <p:nvPr userDrawn="1"/>
        </p:nvGrpSpPr>
        <p:grpSpPr>
          <a:xfrm>
            <a:off x="-5079" y="0"/>
            <a:ext cx="6333420" cy="6858000"/>
            <a:chOff x="16581" y="0"/>
            <a:chExt cx="6333420" cy="6858000"/>
          </a:xfrm>
        </p:grpSpPr>
        <p:sp>
          <p:nvSpPr>
            <p:cNvPr id="5" name="Rectangle: Top Corners Rounded 4">
              <a:extLst>
                <a:ext uri="{FF2B5EF4-FFF2-40B4-BE49-F238E27FC236}">
                  <a16:creationId xmlns:a16="http://schemas.microsoft.com/office/drawing/2014/main" id="{C25A6BEA-005B-9875-2AE7-6D57A7F0472B}"/>
                </a:ext>
              </a:extLst>
            </p:cNvPr>
            <p:cNvSpPr/>
            <p:nvPr userDrawn="1"/>
          </p:nvSpPr>
          <p:spPr>
            <a:xfrm rot="5400000">
              <a:off x="5116" y="2759744"/>
              <a:ext cx="4114800" cy="4081711"/>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6" name="Freeform: Shape 5">
              <a:extLst>
                <a:ext uri="{FF2B5EF4-FFF2-40B4-BE49-F238E27FC236}">
                  <a16:creationId xmlns:a16="http://schemas.microsoft.com/office/drawing/2014/main" id="{6DFBA484-25CD-1779-3A38-65ED15CCD6D6}"/>
                </a:ext>
              </a:extLst>
            </p:cNvPr>
            <p:cNvSpPr/>
            <p:nvPr userDrawn="1"/>
          </p:nvSpPr>
          <p:spPr>
            <a:xfrm>
              <a:off x="21660" y="0"/>
              <a:ext cx="6328341" cy="5552111"/>
            </a:xfrm>
            <a:custGeom>
              <a:avLst/>
              <a:gdLst>
                <a:gd name="connsiteX0" fmla="*/ 0 w 6328341"/>
                <a:gd name="connsiteY0" fmla="*/ 0 h 5552111"/>
                <a:gd name="connsiteX1" fmla="*/ 6328341 w 6328341"/>
                <a:gd name="connsiteY1" fmla="*/ 0 h 5552111"/>
                <a:gd name="connsiteX2" fmla="*/ 6328341 w 6328341"/>
                <a:gd name="connsiteY2" fmla="*/ 2377111 h 5552111"/>
                <a:gd name="connsiteX3" fmla="*/ 3153341 w 6328341"/>
                <a:gd name="connsiteY3" fmla="*/ 5552111 h 5552111"/>
                <a:gd name="connsiteX4" fmla="*/ 42846 w 6328341"/>
                <a:gd name="connsiteY4" fmla="*/ 3016984 h 5552111"/>
                <a:gd name="connsiteX5" fmla="*/ 0 w 6328341"/>
                <a:gd name="connsiteY5" fmla="*/ 273624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8341" h="5552111">
                  <a:moveTo>
                    <a:pt x="0" y="0"/>
                  </a:moveTo>
                  <a:lnTo>
                    <a:pt x="6328341" y="0"/>
                  </a:lnTo>
                  <a:lnTo>
                    <a:pt x="6328341" y="2377111"/>
                  </a:lnTo>
                  <a:cubicBezTo>
                    <a:pt x="6328341" y="4130615"/>
                    <a:pt x="4906845" y="5552111"/>
                    <a:pt x="3153341" y="5552111"/>
                  </a:cubicBezTo>
                  <a:cubicBezTo>
                    <a:pt x="1619025" y="5552111"/>
                    <a:pt x="338903" y="4463778"/>
                    <a:pt x="42846" y="3016984"/>
                  </a:cubicBezTo>
                  <a:lnTo>
                    <a:pt x="0" y="2736246"/>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DF9BA332-9382-C19F-66FE-99AB2FD12525}"/>
                </a:ext>
              </a:extLst>
            </p:cNvPr>
            <p:cNvSpPr/>
            <p:nvPr userDrawn="1"/>
          </p:nvSpPr>
          <p:spPr>
            <a:xfrm rot="5400000">
              <a:off x="652981" y="2106800"/>
              <a:ext cx="2808911" cy="4081711"/>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grpSp>
      <p:sp>
        <p:nvSpPr>
          <p:cNvPr id="11" name="Text Placeholder 13">
            <a:extLst>
              <a:ext uri="{FF2B5EF4-FFF2-40B4-BE49-F238E27FC236}">
                <a16:creationId xmlns:a16="http://schemas.microsoft.com/office/drawing/2014/main" id="{64565F74-6607-D645-F5A7-0A5632621C55}"/>
              </a:ext>
            </a:extLst>
          </p:cNvPr>
          <p:cNvSpPr>
            <a:spLocks noGrp="1"/>
          </p:cNvSpPr>
          <p:nvPr>
            <p:ph type="body" sz="quarter" idx="17" hasCustomPrompt="1"/>
          </p:nvPr>
        </p:nvSpPr>
        <p:spPr>
          <a:xfrm>
            <a:off x="6948369" y="575394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22335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5285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CE057E2-8B7A-030D-538C-6C18EF64073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 y="241300"/>
            <a:ext cx="11868149" cy="6362699"/>
          </a:xfrm>
          <a:prstGeom prst="rect">
            <a:avLst/>
          </a:prstGeom>
        </p:spPr>
      </p:pic>
      <p:sp>
        <p:nvSpPr>
          <p:cNvPr id="20" name="Rectangle: Rounded Corners 19">
            <a:extLst>
              <a:ext uri="{FF2B5EF4-FFF2-40B4-BE49-F238E27FC236}">
                <a16:creationId xmlns:a16="http://schemas.microsoft.com/office/drawing/2014/main" id="{E3DF00FD-7F50-5F6A-0211-01F10C408F79}"/>
              </a:ext>
            </a:extLst>
          </p:cNvPr>
          <p:cNvSpPr/>
          <p:nvPr userDrawn="1"/>
        </p:nvSpPr>
        <p:spPr>
          <a:xfrm rot="2700000">
            <a:off x="9559085" y="-38969"/>
            <a:ext cx="1593806" cy="357200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2" name="Rectangle: Rounded Corners 21">
            <a:extLst>
              <a:ext uri="{FF2B5EF4-FFF2-40B4-BE49-F238E27FC236}">
                <a16:creationId xmlns:a16="http://schemas.microsoft.com/office/drawing/2014/main" id="{0E54E32E-29E1-0CE9-9EB3-4299AC5BA551}"/>
              </a:ext>
            </a:extLst>
          </p:cNvPr>
          <p:cNvSpPr/>
          <p:nvPr userDrawn="1"/>
        </p:nvSpPr>
        <p:spPr>
          <a:xfrm rot="2700000">
            <a:off x="9854559" y="1343244"/>
            <a:ext cx="592131" cy="3587612"/>
          </a:xfrm>
          <a:prstGeom prst="roundRect">
            <a:avLst>
              <a:gd name="adj" fmla="val 50000"/>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4" name="Freeform: Shape 23">
            <a:extLst>
              <a:ext uri="{FF2B5EF4-FFF2-40B4-BE49-F238E27FC236}">
                <a16:creationId xmlns:a16="http://schemas.microsoft.com/office/drawing/2014/main" id="{33A17EB4-0511-A9D6-5B78-5B9A582D9D64}"/>
              </a:ext>
            </a:extLst>
          </p:cNvPr>
          <p:cNvSpPr/>
          <p:nvPr userDrawn="1"/>
        </p:nvSpPr>
        <p:spPr>
          <a:xfrm rot="2700000">
            <a:off x="8557688" y="693470"/>
            <a:ext cx="2580562" cy="3142418"/>
          </a:xfrm>
          <a:custGeom>
            <a:avLst/>
            <a:gdLst>
              <a:gd name="connsiteX0" fmla="*/ 0 w 2580562"/>
              <a:gd name="connsiteY0" fmla="*/ 944206 h 4086624"/>
              <a:gd name="connsiteX1" fmla="*/ 704269 w 2580562"/>
              <a:gd name="connsiteY1" fmla="*/ 239938 h 4086624"/>
              <a:gd name="connsiteX2" fmla="*/ 1862790 w 2580562"/>
              <a:gd name="connsiteY2" fmla="*/ 239938 h 4086624"/>
              <a:gd name="connsiteX3" fmla="*/ 2580562 w 2580562"/>
              <a:gd name="connsiteY3" fmla="*/ 957710 h 4086624"/>
              <a:gd name="connsiteX4" fmla="*/ 2580562 w 2580562"/>
              <a:gd name="connsiteY4" fmla="*/ 2796343 h 4086624"/>
              <a:gd name="connsiteX5" fmla="*/ 1290281 w 2580562"/>
              <a:gd name="connsiteY5" fmla="*/ 4086624 h 4086624"/>
              <a:gd name="connsiteX6" fmla="*/ 0 w 2580562"/>
              <a:gd name="connsiteY6" fmla="*/ 2796343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7" fmla="*/ 795709 w 2580562"/>
              <a:gd name="connsiteY7" fmla="*/ 331378 h 4086624"/>
              <a:gd name="connsiteX0" fmla="*/ 704269 w 2580562"/>
              <a:gd name="connsiteY0" fmla="*/ 239938 h 4086624"/>
              <a:gd name="connsiteX1" fmla="*/ 1862790 w 2580562"/>
              <a:gd name="connsiteY1" fmla="*/ 239938 h 4086624"/>
              <a:gd name="connsiteX2" fmla="*/ 2580562 w 2580562"/>
              <a:gd name="connsiteY2" fmla="*/ 957710 h 4086624"/>
              <a:gd name="connsiteX3" fmla="*/ 2580562 w 2580562"/>
              <a:gd name="connsiteY3" fmla="*/ 2796343 h 4086624"/>
              <a:gd name="connsiteX4" fmla="*/ 1290281 w 2580562"/>
              <a:gd name="connsiteY4" fmla="*/ 4086624 h 4086624"/>
              <a:gd name="connsiteX5" fmla="*/ 0 w 2580562"/>
              <a:gd name="connsiteY5" fmla="*/ 2796343 h 4086624"/>
              <a:gd name="connsiteX6" fmla="*/ 0 w 2580562"/>
              <a:gd name="connsiteY6" fmla="*/ 944206 h 4086624"/>
              <a:gd name="connsiteX0" fmla="*/ 1862790 w 2580562"/>
              <a:gd name="connsiteY0" fmla="*/ 0 h 3846686"/>
              <a:gd name="connsiteX1" fmla="*/ 2580562 w 2580562"/>
              <a:gd name="connsiteY1" fmla="*/ 717772 h 3846686"/>
              <a:gd name="connsiteX2" fmla="*/ 2580562 w 2580562"/>
              <a:gd name="connsiteY2" fmla="*/ 2556405 h 3846686"/>
              <a:gd name="connsiteX3" fmla="*/ 1290281 w 2580562"/>
              <a:gd name="connsiteY3" fmla="*/ 3846686 h 3846686"/>
              <a:gd name="connsiteX4" fmla="*/ 0 w 2580562"/>
              <a:gd name="connsiteY4" fmla="*/ 2556405 h 3846686"/>
              <a:gd name="connsiteX5" fmla="*/ 0 w 2580562"/>
              <a:gd name="connsiteY5" fmla="*/ 704268 h 3846686"/>
              <a:gd name="connsiteX0" fmla="*/ 2580562 w 2580562"/>
              <a:gd name="connsiteY0" fmla="*/ 13504 h 3142418"/>
              <a:gd name="connsiteX1" fmla="*/ 2580562 w 2580562"/>
              <a:gd name="connsiteY1" fmla="*/ 1852137 h 3142418"/>
              <a:gd name="connsiteX2" fmla="*/ 1290281 w 2580562"/>
              <a:gd name="connsiteY2" fmla="*/ 3142418 h 3142418"/>
              <a:gd name="connsiteX3" fmla="*/ 0 w 2580562"/>
              <a:gd name="connsiteY3" fmla="*/ 1852137 h 3142418"/>
              <a:gd name="connsiteX4" fmla="*/ 0 w 2580562"/>
              <a:gd name="connsiteY4" fmla="*/ 0 h 314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562" h="3142418">
                <a:moveTo>
                  <a:pt x="2580562" y="13504"/>
                </a:moveTo>
                <a:lnTo>
                  <a:pt x="2580562" y="1852137"/>
                </a:lnTo>
                <a:cubicBezTo>
                  <a:pt x="2580562" y="2564740"/>
                  <a:pt x="2002884" y="3142418"/>
                  <a:pt x="1290281" y="3142418"/>
                </a:cubicBezTo>
                <a:cubicBezTo>
                  <a:pt x="577678" y="3142418"/>
                  <a:pt x="0" y="2564740"/>
                  <a:pt x="0" y="1852137"/>
                </a:cubicBez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6" name="Graphic 25">
            <a:extLst>
              <a:ext uri="{FF2B5EF4-FFF2-40B4-BE49-F238E27FC236}">
                <a16:creationId xmlns:a16="http://schemas.microsoft.com/office/drawing/2014/main" id="{279552D8-93AA-1558-53CF-B3AA2441C9F1}"/>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27" name="Text Placeholder 21">
            <a:extLst>
              <a:ext uri="{FF2B5EF4-FFF2-40B4-BE49-F238E27FC236}">
                <a16:creationId xmlns:a16="http://schemas.microsoft.com/office/drawing/2014/main" id="{2DB327D4-53F8-A02D-FD4B-DE3CE5FC3F4D}"/>
              </a:ext>
            </a:extLst>
          </p:cNvPr>
          <p:cNvSpPr>
            <a:spLocks noGrp="1"/>
          </p:cNvSpPr>
          <p:nvPr>
            <p:ph type="body" sz="quarter" idx="11" hasCustomPrompt="1"/>
          </p:nvPr>
        </p:nvSpPr>
        <p:spPr>
          <a:xfrm>
            <a:off x="560269" y="4513255"/>
            <a:ext cx="6716020"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28" name="Title 1">
            <a:extLst>
              <a:ext uri="{FF2B5EF4-FFF2-40B4-BE49-F238E27FC236}">
                <a16:creationId xmlns:a16="http://schemas.microsoft.com/office/drawing/2014/main" id="{1D4F7CBF-B263-6DFD-1E56-2BCBA31644B6}"/>
              </a:ext>
            </a:extLst>
          </p:cNvPr>
          <p:cNvSpPr>
            <a:spLocks noGrp="1"/>
          </p:cNvSpPr>
          <p:nvPr>
            <p:ph type="ctrTitle" hasCustomPrompt="1"/>
          </p:nvPr>
        </p:nvSpPr>
        <p:spPr>
          <a:xfrm>
            <a:off x="560269" y="2292059"/>
            <a:ext cx="6716020"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29" name="Subtitle 2">
            <a:extLst>
              <a:ext uri="{FF2B5EF4-FFF2-40B4-BE49-F238E27FC236}">
                <a16:creationId xmlns:a16="http://schemas.microsoft.com/office/drawing/2014/main" id="{E612B469-E30C-E96F-0490-057826786242}"/>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30" name="TextBox 29">
            <a:extLst>
              <a:ext uri="{FF2B5EF4-FFF2-40B4-BE49-F238E27FC236}">
                <a16:creationId xmlns:a16="http://schemas.microsoft.com/office/drawing/2014/main" id="{EF596005-FB39-2120-DA4B-99A6851C070A}"/>
              </a:ext>
            </a:extLst>
          </p:cNvPr>
          <p:cNvSpPr txBox="1"/>
          <p:nvPr userDrawn="1"/>
        </p:nvSpPr>
        <p:spPr bwMode="black">
          <a:xfrm>
            <a:off x="560269" y="66215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sp>
        <p:nvSpPr>
          <p:cNvPr id="42" name="Picture Placeholder 41">
            <a:extLst>
              <a:ext uri="{FF2B5EF4-FFF2-40B4-BE49-F238E27FC236}">
                <a16:creationId xmlns:a16="http://schemas.microsoft.com/office/drawing/2014/main" id="{178ED566-AC4C-DB1A-FBA8-411D294AA9F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Text Placeholder 13">
            <a:extLst>
              <a:ext uri="{FF2B5EF4-FFF2-40B4-BE49-F238E27FC236}">
                <a16:creationId xmlns:a16="http://schemas.microsoft.com/office/drawing/2014/main" id="{4871D7E5-7016-D225-9AA1-16FDB1DA9B1E}"/>
              </a:ext>
            </a:extLst>
          </p:cNvPr>
          <p:cNvSpPr>
            <a:spLocks noGrp="1"/>
          </p:cNvSpPr>
          <p:nvPr>
            <p:ph type="body" sz="quarter" idx="17" hasCustomPrompt="1"/>
          </p:nvPr>
        </p:nvSpPr>
        <p:spPr>
          <a:xfrm>
            <a:off x="560268" y="5680710"/>
            <a:ext cx="6716020"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144781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07831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739BB318-2FA2-9BC0-C500-B054B13E410C}"/>
              </a:ext>
            </a:extLst>
          </p:cNvPr>
          <p:cNvSpPr/>
          <p:nvPr userDrawn="1"/>
        </p:nvSpPr>
        <p:spPr>
          <a:xfrm>
            <a:off x="-1"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15" name="Graphic 14">
            <a:extLst>
              <a:ext uri="{FF2B5EF4-FFF2-40B4-BE49-F238E27FC236}">
                <a16:creationId xmlns:a16="http://schemas.microsoft.com/office/drawing/2014/main" id="{8257E79C-F908-FC57-48EB-74840AB780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996138" y="1574801"/>
            <a:ext cx="1566472" cy="5029200"/>
          </a:xfrm>
          <a:prstGeom prst="rect">
            <a:avLst/>
          </a:prstGeom>
        </p:spPr>
      </p:pic>
      <p:sp>
        <p:nvSpPr>
          <p:cNvPr id="39" name="Freeform: Shape 38">
            <a:extLst>
              <a:ext uri="{FF2B5EF4-FFF2-40B4-BE49-F238E27FC236}">
                <a16:creationId xmlns:a16="http://schemas.microsoft.com/office/drawing/2014/main" id="{EA460FB5-1D71-63A8-83DD-7C183AC8C704}"/>
              </a:ext>
            </a:extLst>
          </p:cNvPr>
          <p:cNvSpPr>
            <a:spLocks/>
          </p:cNvSpPr>
          <p:nvPr userDrawn="1"/>
        </p:nvSpPr>
        <p:spPr>
          <a:xfrm>
            <a:off x="6115326" y="6091026"/>
            <a:ext cx="1562353" cy="751899"/>
          </a:xfrm>
          <a:custGeom>
            <a:avLst/>
            <a:gdLst>
              <a:gd name="connsiteX0" fmla="*/ 781177 w 1562353"/>
              <a:gd name="connsiteY0" fmla="*/ 0 h 751899"/>
              <a:gd name="connsiteX1" fmla="*/ 1549698 w 1562353"/>
              <a:gd name="connsiteY1" fmla="*/ 626363 h 751899"/>
              <a:gd name="connsiteX2" fmla="*/ 1562353 w 1562353"/>
              <a:gd name="connsiteY2" fmla="*/ 751899 h 751899"/>
              <a:gd name="connsiteX3" fmla="*/ 0 w 1562353"/>
              <a:gd name="connsiteY3" fmla="*/ 751899 h 751899"/>
              <a:gd name="connsiteX4" fmla="*/ 12655 w 1562353"/>
              <a:gd name="connsiteY4" fmla="*/ 626363 h 751899"/>
              <a:gd name="connsiteX5" fmla="*/ 781177 w 1562353"/>
              <a:gd name="connsiteY5" fmla="*/ 0 h 75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353" h="751899">
                <a:moveTo>
                  <a:pt x="781177" y="0"/>
                </a:moveTo>
                <a:cubicBezTo>
                  <a:pt x="1160266" y="0"/>
                  <a:pt x="1476550" y="268899"/>
                  <a:pt x="1549698" y="626363"/>
                </a:cubicBezTo>
                <a:lnTo>
                  <a:pt x="1562353" y="751899"/>
                </a:lnTo>
                <a:lnTo>
                  <a:pt x="0" y="751899"/>
                </a:lnTo>
                <a:lnTo>
                  <a:pt x="12655" y="626363"/>
                </a:lnTo>
                <a:cubicBezTo>
                  <a:pt x="85803" y="268899"/>
                  <a:pt x="402087" y="0"/>
                  <a:pt x="781177" y="0"/>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0" name="Freeform: Shape 39">
            <a:extLst>
              <a:ext uri="{FF2B5EF4-FFF2-40B4-BE49-F238E27FC236}">
                <a16:creationId xmlns:a16="http://schemas.microsoft.com/office/drawing/2014/main" id="{F2AAAAF4-7481-56CC-28C1-4AD28C235C0D}"/>
              </a:ext>
            </a:extLst>
          </p:cNvPr>
          <p:cNvSpPr/>
          <p:nvPr userDrawn="1"/>
        </p:nvSpPr>
        <p:spPr>
          <a:xfrm>
            <a:off x="9914020" y="4855317"/>
            <a:ext cx="1574088" cy="1987609"/>
          </a:xfrm>
          <a:custGeom>
            <a:avLst/>
            <a:gdLst>
              <a:gd name="connsiteX0" fmla="*/ 1557049 w 1574088"/>
              <a:gd name="connsiteY0" fmla="*/ 0 h 1987609"/>
              <a:gd name="connsiteX1" fmla="*/ 1574088 w 1574088"/>
              <a:gd name="connsiteY1" fmla="*/ 1718 h 1987609"/>
              <a:gd name="connsiteX2" fmla="*/ 1574088 w 1574088"/>
              <a:gd name="connsiteY2" fmla="*/ 1987609 h 1987609"/>
              <a:gd name="connsiteX3" fmla="*/ 0 w 1574088"/>
              <a:gd name="connsiteY3" fmla="*/ 1987609 h 1987609"/>
              <a:gd name="connsiteX4" fmla="*/ 0 w 1574088"/>
              <a:gd name="connsiteY4" fmla="*/ 1557049 h 1987609"/>
              <a:gd name="connsiteX5" fmla="*/ 1557049 w 1574088"/>
              <a:gd name="connsiteY5" fmla="*/ 0 h 198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088" h="1987609">
                <a:moveTo>
                  <a:pt x="1557049" y="0"/>
                </a:moveTo>
                <a:lnTo>
                  <a:pt x="1574088" y="1718"/>
                </a:lnTo>
                <a:lnTo>
                  <a:pt x="1574088" y="1987609"/>
                </a:lnTo>
                <a:lnTo>
                  <a:pt x="0" y="1987609"/>
                </a:lnTo>
                <a:lnTo>
                  <a:pt x="0" y="1557049"/>
                </a:lnTo>
                <a:cubicBezTo>
                  <a:pt x="0" y="697115"/>
                  <a:pt x="697115" y="0"/>
                  <a:pt x="1557049" y="0"/>
                </a:cubicBezTo>
                <a:close/>
              </a:path>
            </a:pathLst>
          </a:custGeom>
          <a:gradFill>
            <a:gsLst>
              <a:gs pos="0">
                <a:srgbClr val="6EEAC4"/>
              </a:gs>
              <a:gs pos="4000">
                <a:srgbClr val="69DFBD"/>
              </a:gs>
              <a:gs pos="39000">
                <a:srgbClr val="458588"/>
              </a:gs>
              <a:gs pos="68000">
                <a:srgbClr val="2A4360"/>
              </a:gs>
              <a:gs pos="89000">
                <a:srgbClr val="191A48"/>
              </a:gs>
              <a:gs pos="100000">
                <a:srgbClr val="130B3F"/>
              </a:gs>
            </a:gsLst>
            <a:lin ang="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3" name="Freeform: Shape 32">
            <a:extLst>
              <a:ext uri="{FF2B5EF4-FFF2-40B4-BE49-F238E27FC236}">
                <a16:creationId xmlns:a16="http://schemas.microsoft.com/office/drawing/2014/main" id="{913F0253-1103-0501-0DDE-FBAF667D32CE}"/>
              </a:ext>
            </a:extLst>
          </p:cNvPr>
          <p:cNvSpPr/>
          <p:nvPr userDrawn="1"/>
        </p:nvSpPr>
        <p:spPr>
          <a:xfrm>
            <a:off x="11821584" y="743158"/>
            <a:ext cx="375516" cy="1813796"/>
          </a:xfrm>
          <a:custGeom>
            <a:avLst/>
            <a:gdLst>
              <a:gd name="connsiteX0" fmla="*/ 375516 w 375516"/>
              <a:gd name="connsiteY0" fmla="*/ 0 h 1813796"/>
              <a:gd name="connsiteX1" fmla="*/ 375516 w 375516"/>
              <a:gd name="connsiteY1" fmla="*/ 1813796 h 1813796"/>
              <a:gd name="connsiteX2" fmla="*/ 287640 w 375516"/>
              <a:gd name="connsiteY2" fmla="*/ 1786518 h 1813796"/>
              <a:gd name="connsiteX3" fmla="*/ 0 w 375516"/>
              <a:gd name="connsiteY3" fmla="*/ 1352570 h 1813796"/>
              <a:gd name="connsiteX4" fmla="*/ 0 w 375516"/>
              <a:gd name="connsiteY4" fmla="*/ 461226 h 1813796"/>
              <a:gd name="connsiteX5" fmla="*/ 287640 w 375516"/>
              <a:gd name="connsiteY5" fmla="*/ 27278 h 181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516" h="1813796">
                <a:moveTo>
                  <a:pt x="375516" y="0"/>
                </a:moveTo>
                <a:lnTo>
                  <a:pt x="375516" y="1813796"/>
                </a:lnTo>
                <a:lnTo>
                  <a:pt x="287640" y="1786518"/>
                </a:lnTo>
                <a:cubicBezTo>
                  <a:pt x="118606" y="1715023"/>
                  <a:pt x="0" y="1547648"/>
                  <a:pt x="0" y="1352570"/>
                </a:cubicBezTo>
                <a:lnTo>
                  <a:pt x="0" y="461226"/>
                </a:lnTo>
                <a:cubicBezTo>
                  <a:pt x="0" y="266149"/>
                  <a:pt x="118606" y="98774"/>
                  <a:pt x="287640" y="27278"/>
                </a:cubicBezTo>
                <a:close/>
              </a:path>
            </a:pathLst>
          </a:cu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1" name="Freeform: Shape 30">
            <a:extLst>
              <a:ext uri="{FF2B5EF4-FFF2-40B4-BE49-F238E27FC236}">
                <a16:creationId xmlns:a16="http://schemas.microsoft.com/office/drawing/2014/main" id="{47676A29-7E8F-1D6A-EC1B-460D31DC64E0}"/>
              </a:ext>
            </a:extLst>
          </p:cNvPr>
          <p:cNvSpPr/>
          <p:nvPr userDrawn="1"/>
        </p:nvSpPr>
        <p:spPr>
          <a:xfrm>
            <a:off x="11834966" y="2890625"/>
            <a:ext cx="362135" cy="3952299"/>
          </a:xfrm>
          <a:custGeom>
            <a:avLst/>
            <a:gdLst>
              <a:gd name="connsiteX0" fmla="*/ 362135 w 362135"/>
              <a:gd name="connsiteY0" fmla="*/ 0 h 3952299"/>
              <a:gd name="connsiteX1" fmla="*/ 362135 w 362135"/>
              <a:gd name="connsiteY1" fmla="*/ 3952299 h 3952299"/>
              <a:gd name="connsiteX2" fmla="*/ 345157 w 362135"/>
              <a:gd name="connsiteY2" fmla="*/ 3947029 h 3952299"/>
              <a:gd name="connsiteX3" fmla="*/ 0 w 362135"/>
              <a:gd name="connsiteY3" fmla="*/ 3426307 h 3952299"/>
              <a:gd name="connsiteX4" fmla="*/ 0 w 362135"/>
              <a:gd name="connsiteY4" fmla="*/ 525991 h 3952299"/>
              <a:gd name="connsiteX5" fmla="*/ 345157 w 362135"/>
              <a:gd name="connsiteY5" fmla="*/ 5270 h 39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35" h="3952299">
                <a:moveTo>
                  <a:pt x="362135" y="0"/>
                </a:moveTo>
                <a:lnTo>
                  <a:pt x="362135" y="3952299"/>
                </a:lnTo>
                <a:lnTo>
                  <a:pt x="345157" y="3947029"/>
                </a:lnTo>
                <a:cubicBezTo>
                  <a:pt x="142323" y="3861237"/>
                  <a:pt x="0" y="3660393"/>
                  <a:pt x="0" y="3426307"/>
                </a:cubicBezTo>
                <a:lnTo>
                  <a:pt x="0" y="525991"/>
                </a:lnTo>
                <a:cubicBezTo>
                  <a:pt x="0" y="291906"/>
                  <a:pt x="142323" y="91062"/>
                  <a:pt x="345157" y="527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68" name="Graphic 67">
            <a:extLst>
              <a:ext uri="{FF2B5EF4-FFF2-40B4-BE49-F238E27FC236}">
                <a16:creationId xmlns:a16="http://schemas.microsoft.com/office/drawing/2014/main" id="{A9941B5D-B587-2CD8-1E2F-5B1501282D47}"/>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710042" y="611533"/>
            <a:ext cx="2212298" cy="399963"/>
          </a:xfrm>
          <a:prstGeom prst="rect">
            <a:avLst/>
          </a:prstGeom>
        </p:spPr>
      </p:pic>
      <p:sp>
        <p:nvSpPr>
          <p:cNvPr id="73" name="TextBox 72">
            <a:extLst>
              <a:ext uri="{FF2B5EF4-FFF2-40B4-BE49-F238E27FC236}">
                <a16:creationId xmlns:a16="http://schemas.microsoft.com/office/drawing/2014/main" id="{A3F0ED94-D4EA-C9DE-D42F-D4FB64467424}"/>
              </a:ext>
            </a:extLst>
          </p:cNvPr>
          <p:cNvSpPr txBox="1"/>
          <p:nvPr userDrawn="1"/>
        </p:nvSpPr>
        <p:spPr bwMode="black">
          <a:xfrm>
            <a:off x="560269" y="6458393"/>
            <a:ext cx="7722832"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a:t>
            </a:r>
            <a:b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b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the United States, the European Union, and various other countries. </a:t>
            </a:r>
          </a:p>
        </p:txBody>
      </p:sp>
      <p:sp>
        <p:nvSpPr>
          <p:cNvPr id="12" name="Picture Placeholder 11">
            <a:extLst>
              <a:ext uri="{FF2B5EF4-FFF2-40B4-BE49-F238E27FC236}">
                <a16:creationId xmlns:a16="http://schemas.microsoft.com/office/drawing/2014/main" id="{C4F16AE3-C94B-2D66-8339-457C0CFF0360}"/>
              </a:ext>
            </a:extLst>
          </p:cNvPr>
          <p:cNvSpPr>
            <a:spLocks noGrp="1"/>
          </p:cNvSpPr>
          <p:nvPr>
            <p:ph type="pic" sz="quarter" idx="14" hasCustomPrompt="1"/>
          </p:nvPr>
        </p:nvSpPr>
        <p:spPr>
          <a:xfrm>
            <a:off x="6098391" y="6350"/>
            <a:ext cx="1579288" cy="2314574"/>
          </a:xfrm>
          <a:custGeom>
            <a:avLst/>
            <a:gdLst>
              <a:gd name="connsiteX0" fmla="*/ 0 w 1579288"/>
              <a:gd name="connsiteY0" fmla="*/ 0 h 2314574"/>
              <a:gd name="connsiteX1" fmla="*/ 1579288 w 1579288"/>
              <a:gd name="connsiteY1" fmla="*/ 0 h 2314574"/>
              <a:gd name="connsiteX2" fmla="*/ 1579288 w 1579288"/>
              <a:gd name="connsiteY2" fmla="*/ 1524930 h 2314574"/>
              <a:gd name="connsiteX3" fmla="*/ 789644 w 1579288"/>
              <a:gd name="connsiteY3" fmla="*/ 2314574 h 2314574"/>
              <a:gd name="connsiteX4" fmla="*/ 0 w 1579288"/>
              <a:gd name="connsiteY4" fmla="*/ 1524930 h 2314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288" h="2314574">
                <a:moveTo>
                  <a:pt x="0" y="0"/>
                </a:moveTo>
                <a:lnTo>
                  <a:pt x="1579288" y="0"/>
                </a:lnTo>
                <a:lnTo>
                  <a:pt x="1579288" y="1524930"/>
                </a:lnTo>
                <a:cubicBezTo>
                  <a:pt x="1579288" y="1961038"/>
                  <a:pt x="1225752" y="2314574"/>
                  <a:pt x="789644" y="2314574"/>
                </a:cubicBezTo>
                <a:cubicBezTo>
                  <a:pt x="353536" y="2314574"/>
                  <a:pt x="0" y="1961038"/>
                  <a:pt x="0" y="1524930"/>
                </a:cubicBezTo>
                <a:close/>
              </a:path>
            </a:pathLst>
          </a:custGeom>
          <a:blipFill>
            <a:blip r:embed="rId7"/>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3" name="Picture Placeholder 12">
            <a:extLst>
              <a:ext uri="{FF2B5EF4-FFF2-40B4-BE49-F238E27FC236}">
                <a16:creationId xmlns:a16="http://schemas.microsoft.com/office/drawing/2014/main" id="{439A5091-7454-13CA-923E-0745779CED1A}"/>
              </a:ext>
            </a:extLst>
          </p:cNvPr>
          <p:cNvSpPr>
            <a:spLocks noGrp="1"/>
          </p:cNvSpPr>
          <p:nvPr>
            <p:ph type="pic" sz="quarter" idx="15" hasCustomPrompt="1"/>
          </p:nvPr>
        </p:nvSpPr>
        <p:spPr>
          <a:xfrm>
            <a:off x="6098391" y="2454442"/>
            <a:ext cx="1579288" cy="3489158"/>
          </a:xfrm>
          <a:custGeom>
            <a:avLst/>
            <a:gdLst>
              <a:gd name="connsiteX0" fmla="*/ 789644 w 1579288"/>
              <a:gd name="connsiteY0" fmla="*/ 0 h 3489158"/>
              <a:gd name="connsiteX1" fmla="*/ 1579288 w 1579288"/>
              <a:gd name="connsiteY1" fmla="*/ 789644 h 3489158"/>
              <a:gd name="connsiteX2" fmla="*/ 1579288 w 1579288"/>
              <a:gd name="connsiteY2" fmla="*/ 2699514 h 3489158"/>
              <a:gd name="connsiteX3" fmla="*/ 789644 w 1579288"/>
              <a:gd name="connsiteY3" fmla="*/ 3489158 h 3489158"/>
              <a:gd name="connsiteX4" fmla="*/ 0 w 1579288"/>
              <a:gd name="connsiteY4" fmla="*/ 2699514 h 3489158"/>
              <a:gd name="connsiteX5" fmla="*/ 0 w 1579288"/>
              <a:gd name="connsiteY5" fmla="*/ 789644 h 3489158"/>
              <a:gd name="connsiteX6" fmla="*/ 789644 w 1579288"/>
              <a:gd name="connsiteY6" fmla="*/ 0 h 348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9288" h="3489158">
                <a:moveTo>
                  <a:pt x="789644" y="0"/>
                </a:moveTo>
                <a:cubicBezTo>
                  <a:pt x="1225752" y="0"/>
                  <a:pt x="1579288" y="353536"/>
                  <a:pt x="1579288" y="789644"/>
                </a:cubicBezTo>
                <a:lnTo>
                  <a:pt x="1579288" y="2699514"/>
                </a:lnTo>
                <a:cubicBezTo>
                  <a:pt x="1579288" y="3135622"/>
                  <a:pt x="1225752" y="3489158"/>
                  <a:pt x="789644" y="3489158"/>
                </a:cubicBezTo>
                <a:cubicBezTo>
                  <a:pt x="353536" y="3489158"/>
                  <a:pt x="0" y="3135622"/>
                  <a:pt x="0" y="2699514"/>
                </a:cubicBezTo>
                <a:lnTo>
                  <a:pt x="0" y="789644"/>
                </a:lnTo>
                <a:cubicBezTo>
                  <a:pt x="0" y="353536"/>
                  <a:pt x="353536" y="0"/>
                  <a:pt x="789644"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8" name="Text Placeholder 21">
            <a:extLst>
              <a:ext uri="{FF2B5EF4-FFF2-40B4-BE49-F238E27FC236}">
                <a16:creationId xmlns:a16="http://schemas.microsoft.com/office/drawing/2014/main" id="{BF50C530-E22F-4FAC-5759-3DBBAD403F37}"/>
              </a:ext>
            </a:extLst>
          </p:cNvPr>
          <p:cNvSpPr>
            <a:spLocks noGrp="1"/>
          </p:cNvSpPr>
          <p:nvPr>
            <p:ph type="body" sz="quarter" idx="11" hasCustomPrompt="1"/>
          </p:nvPr>
        </p:nvSpPr>
        <p:spPr>
          <a:xfrm>
            <a:off x="560270" y="4513255"/>
            <a:ext cx="516934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a:t>
            </a:r>
            <a:br>
              <a:rPr lang="en-US"/>
            </a:br>
            <a:r>
              <a:rPr lang="en-US"/>
              <a:t>sentence case</a:t>
            </a:r>
          </a:p>
        </p:txBody>
      </p:sp>
      <p:sp>
        <p:nvSpPr>
          <p:cNvPr id="9" name="Title 1">
            <a:extLst>
              <a:ext uri="{FF2B5EF4-FFF2-40B4-BE49-F238E27FC236}">
                <a16:creationId xmlns:a16="http://schemas.microsoft.com/office/drawing/2014/main" id="{001CB714-76EF-FC5F-FA21-AAC2687A7804}"/>
              </a:ext>
            </a:extLst>
          </p:cNvPr>
          <p:cNvSpPr>
            <a:spLocks noGrp="1"/>
          </p:cNvSpPr>
          <p:nvPr>
            <p:ph type="ctrTitle" hasCustomPrompt="1"/>
          </p:nvPr>
        </p:nvSpPr>
        <p:spPr>
          <a:xfrm>
            <a:off x="560270" y="2292059"/>
            <a:ext cx="516934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10" name="Subtitle 2">
            <a:extLst>
              <a:ext uri="{FF2B5EF4-FFF2-40B4-BE49-F238E27FC236}">
                <a16:creationId xmlns:a16="http://schemas.microsoft.com/office/drawing/2014/main" id="{3AA1AF35-E214-5937-C222-35F7C8B61318}"/>
              </a:ext>
            </a:extLst>
          </p:cNvPr>
          <p:cNvSpPr>
            <a:spLocks noGrp="1"/>
          </p:cNvSpPr>
          <p:nvPr>
            <p:ph type="subTitle" idx="1" hasCustomPrompt="1"/>
          </p:nvPr>
        </p:nvSpPr>
        <p:spPr>
          <a:xfrm>
            <a:off x="560269" y="17748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11" name="Text Placeholder 13">
            <a:extLst>
              <a:ext uri="{FF2B5EF4-FFF2-40B4-BE49-F238E27FC236}">
                <a16:creationId xmlns:a16="http://schemas.microsoft.com/office/drawing/2014/main" id="{BBDCA1FD-A8D4-1358-1CE3-87CF2BAF9D4D}"/>
              </a:ext>
            </a:extLst>
          </p:cNvPr>
          <p:cNvSpPr>
            <a:spLocks noGrp="1"/>
          </p:cNvSpPr>
          <p:nvPr>
            <p:ph type="body" sz="quarter" idx="17" hasCustomPrompt="1"/>
          </p:nvPr>
        </p:nvSpPr>
        <p:spPr>
          <a:xfrm>
            <a:off x="560269" y="5680710"/>
            <a:ext cx="5169341" cy="507026"/>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52" name="Graphic 51">
            <a:extLst>
              <a:ext uri="{FF2B5EF4-FFF2-40B4-BE49-F238E27FC236}">
                <a16:creationId xmlns:a16="http://schemas.microsoft.com/office/drawing/2014/main" id="{7CDFB77E-A09E-BDE9-B164-A894EB8370D1}"/>
              </a:ext>
            </a:extLst>
          </p:cNvPr>
          <p:cNvPicPr>
            <a:picLocks noChangeAspect="1"/>
          </p:cNvPicPr>
          <p:nvPr userDrawn="1"/>
        </p:nvPicPr>
        <p:blipFill>
          <a:blip>
            <a:extLst>
              <a:ext uri="{96DAC541-7B7A-43D3-8B79-37D633B846F1}">
                <asvg:svgBlip xmlns:asvg="http://schemas.microsoft.com/office/drawing/2016/SVG/main" r:embed="rId9"/>
              </a:ext>
            </a:extLst>
          </a:blip>
          <a:srcRect t="22893"/>
          <a:stretch>
            <a:fillRect/>
          </a:stretch>
        </p:blipFill>
        <p:spPr>
          <a:xfrm>
            <a:off x="7997572" y="0"/>
            <a:ext cx="1578228" cy="1574836"/>
          </a:xfrm>
          <a:custGeom>
            <a:avLst/>
            <a:gdLst>
              <a:gd name="connsiteX0" fmla="*/ 0 w 1578228"/>
              <a:gd name="connsiteY0" fmla="*/ 0 h 1574836"/>
              <a:gd name="connsiteX1" fmla="*/ 1578228 w 1578228"/>
              <a:gd name="connsiteY1" fmla="*/ 0 h 1574836"/>
              <a:gd name="connsiteX2" fmla="*/ 1578228 w 1578228"/>
              <a:gd name="connsiteY2" fmla="*/ 1574836 h 1574836"/>
              <a:gd name="connsiteX3" fmla="*/ 0 w 1578228"/>
              <a:gd name="connsiteY3" fmla="*/ 1574836 h 1574836"/>
            </a:gdLst>
            <a:ahLst/>
            <a:cxnLst>
              <a:cxn ang="0">
                <a:pos x="connsiteX0" y="connsiteY0"/>
              </a:cxn>
              <a:cxn ang="0">
                <a:pos x="connsiteX1" y="connsiteY1"/>
              </a:cxn>
              <a:cxn ang="0">
                <a:pos x="connsiteX2" y="connsiteY2"/>
              </a:cxn>
              <a:cxn ang="0">
                <a:pos x="connsiteX3" y="connsiteY3"/>
              </a:cxn>
            </a:cxnLst>
            <a:rect l="l" t="t" r="r" b="b"/>
            <a:pathLst>
              <a:path w="1578228" h="1574836">
                <a:moveTo>
                  <a:pt x="0" y="0"/>
                </a:moveTo>
                <a:lnTo>
                  <a:pt x="1578228" y="0"/>
                </a:lnTo>
                <a:lnTo>
                  <a:pt x="1578228" y="1574836"/>
                </a:lnTo>
                <a:lnTo>
                  <a:pt x="0" y="1574836"/>
                </a:lnTo>
                <a:close/>
              </a:path>
            </a:pathLst>
          </a:custGeom>
        </p:spPr>
      </p:pic>
      <p:sp>
        <p:nvSpPr>
          <p:cNvPr id="6" name="Picture Placeholder 16">
            <a:extLst>
              <a:ext uri="{FF2B5EF4-FFF2-40B4-BE49-F238E27FC236}">
                <a16:creationId xmlns:a16="http://schemas.microsoft.com/office/drawing/2014/main" id="{11F2F281-CD61-3144-F723-3FD15751644D}"/>
              </a:ext>
            </a:extLst>
          </p:cNvPr>
          <p:cNvSpPr>
            <a:spLocks noGrp="1"/>
          </p:cNvSpPr>
          <p:nvPr>
            <p:ph type="pic" sz="quarter" idx="18" hasCustomPrompt="1"/>
          </p:nvPr>
        </p:nvSpPr>
        <p:spPr>
          <a:xfrm>
            <a:off x="9914020" y="0"/>
            <a:ext cx="1574799" cy="4616449"/>
          </a:xfrm>
          <a:custGeom>
            <a:avLst/>
            <a:gdLst>
              <a:gd name="connsiteX0" fmla="*/ 776817 w 1574799"/>
              <a:gd name="connsiteY0" fmla="*/ 0 h 4616449"/>
              <a:gd name="connsiteX1" fmla="*/ 797982 w 1574799"/>
              <a:gd name="connsiteY1" fmla="*/ 0 h 4616449"/>
              <a:gd name="connsiteX2" fmla="*/ 1574799 w 1574799"/>
              <a:gd name="connsiteY2" fmla="*/ 776817 h 4616449"/>
              <a:gd name="connsiteX3" fmla="*/ 1574799 w 1574799"/>
              <a:gd name="connsiteY3" fmla="*/ 3839632 h 4616449"/>
              <a:gd name="connsiteX4" fmla="*/ 797982 w 1574799"/>
              <a:gd name="connsiteY4" fmla="*/ 4616449 h 4616449"/>
              <a:gd name="connsiteX5" fmla="*/ 776817 w 1574799"/>
              <a:gd name="connsiteY5" fmla="*/ 4616449 h 4616449"/>
              <a:gd name="connsiteX6" fmla="*/ 0 w 1574799"/>
              <a:gd name="connsiteY6" fmla="*/ 3839632 h 4616449"/>
              <a:gd name="connsiteX7" fmla="*/ 0 w 1574799"/>
              <a:gd name="connsiteY7" fmla="*/ 776817 h 4616449"/>
              <a:gd name="connsiteX8" fmla="*/ 776817 w 1574799"/>
              <a:gd name="connsiteY8" fmla="*/ 0 h 461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99" h="4616449">
                <a:moveTo>
                  <a:pt x="776817" y="0"/>
                </a:moveTo>
                <a:lnTo>
                  <a:pt x="797982" y="0"/>
                </a:lnTo>
                <a:cubicBezTo>
                  <a:pt x="1227006" y="0"/>
                  <a:pt x="1574799" y="347793"/>
                  <a:pt x="1574799" y="776817"/>
                </a:cubicBezTo>
                <a:lnTo>
                  <a:pt x="1574799" y="3839632"/>
                </a:lnTo>
                <a:cubicBezTo>
                  <a:pt x="1574799" y="4268656"/>
                  <a:pt x="1227006" y="4616449"/>
                  <a:pt x="797982" y="4616449"/>
                </a:cubicBezTo>
                <a:lnTo>
                  <a:pt x="776817" y="4616449"/>
                </a:lnTo>
                <a:cubicBezTo>
                  <a:pt x="347793" y="4616449"/>
                  <a:pt x="0" y="4268656"/>
                  <a:pt x="0" y="3839632"/>
                </a:cubicBezTo>
                <a:lnTo>
                  <a:pt x="0" y="776817"/>
                </a:lnTo>
                <a:cubicBezTo>
                  <a:pt x="0" y="347793"/>
                  <a:pt x="347793" y="0"/>
                  <a:pt x="776817" y="0"/>
                </a:cubicBezTo>
                <a:close/>
              </a:path>
            </a:pathLst>
          </a:custGeom>
          <a:blipFill>
            <a:blip r:embed="rId10"/>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1936019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60558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DA3FDF07-2EE4-1BD3-7BBF-76F0E37FCF2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1" name="Freeform: Shape 30">
            <a:extLst>
              <a:ext uri="{FF2B5EF4-FFF2-40B4-BE49-F238E27FC236}">
                <a16:creationId xmlns:a16="http://schemas.microsoft.com/office/drawing/2014/main" id="{4594B7A1-4047-AFA3-498E-DD5DFA54DCB6}"/>
              </a:ext>
            </a:extLst>
          </p:cNvPr>
          <p:cNvSpPr/>
          <p:nvPr userDrawn="1"/>
        </p:nvSpPr>
        <p:spPr>
          <a:xfrm flipH="1">
            <a:off x="6258210" y="-1"/>
            <a:ext cx="5943600" cy="3791372"/>
          </a:xfrm>
          <a:custGeom>
            <a:avLst/>
            <a:gdLst>
              <a:gd name="connsiteX0" fmla="*/ 4047914 w 5943600"/>
              <a:gd name="connsiteY0" fmla="*/ 0 h 3791372"/>
              <a:gd name="connsiteX1" fmla="*/ 0 w 5943600"/>
              <a:gd name="connsiteY1" fmla="*/ 0 h 3791372"/>
              <a:gd name="connsiteX2" fmla="*/ 0 w 5943600"/>
              <a:gd name="connsiteY2" fmla="*/ 3791371 h 3791372"/>
              <a:gd name="connsiteX3" fmla="*/ 4047913 w 5943600"/>
              <a:gd name="connsiteY3" fmla="*/ 3791372 h 3791372"/>
              <a:gd name="connsiteX4" fmla="*/ 5943599 w 5943600"/>
              <a:gd name="connsiteY4" fmla="*/ 1895686 h 3791372"/>
              <a:gd name="connsiteX5" fmla="*/ 5943600 w 5943600"/>
              <a:gd name="connsiteY5" fmla="*/ 1895686 h 3791372"/>
              <a:gd name="connsiteX6" fmla="*/ 4047914 w 5943600"/>
              <a:gd name="connsiteY6" fmla="*/ 0 h 379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3600" h="3791372">
                <a:moveTo>
                  <a:pt x="4047914" y="0"/>
                </a:moveTo>
                <a:lnTo>
                  <a:pt x="0" y="0"/>
                </a:lnTo>
                <a:lnTo>
                  <a:pt x="0" y="3791371"/>
                </a:lnTo>
                <a:lnTo>
                  <a:pt x="4047913" y="3791372"/>
                </a:lnTo>
                <a:cubicBezTo>
                  <a:pt x="5094871" y="3791372"/>
                  <a:pt x="5943599" y="2942644"/>
                  <a:pt x="5943599" y="1895686"/>
                </a:cubicBezTo>
                <a:lnTo>
                  <a:pt x="5943600" y="1895686"/>
                </a:lnTo>
                <a:cubicBezTo>
                  <a:pt x="5943600" y="848728"/>
                  <a:pt x="5094872" y="0"/>
                  <a:pt x="4047914" y="0"/>
                </a:cubicBezTo>
                <a:close/>
              </a:path>
            </a:pathLst>
          </a:custGeom>
          <a:gradFill>
            <a:gsLst>
              <a:gs pos="75000">
                <a:srgbClr val="140A42"/>
              </a:gs>
              <a:gs pos="0">
                <a:srgbClr val="0DEFC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33" name="Graphic 32">
            <a:extLst>
              <a:ext uri="{FF2B5EF4-FFF2-40B4-BE49-F238E27FC236}">
                <a16:creationId xmlns:a16="http://schemas.microsoft.com/office/drawing/2014/main" id="{D98071B0-0BAC-CCBF-C8F1-4A3F454908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652788" y="3098800"/>
            <a:ext cx="8979180" cy="3765875"/>
          </a:xfrm>
          <a:prstGeom prst="rect">
            <a:avLst/>
          </a:prstGeom>
        </p:spPr>
      </p:pic>
      <p:pic>
        <p:nvPicPr>
          <p:cNvPr id="25" name="Graphic 24">
            <a:extLst>
              <a:ext uri="{FF2B5EF4-FFF2-40B4-BE49-F238E27FC236}">
                <a16:creationId xmlns:a16="http://schemas.microsoft.com/office/drawing/2014/main" id="{81C40449-60F0-140A-3AD1-82ADF3046D4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710042" y="5757573"/>
            <a:ext cx="2212298" cy="399963"/>
          </a:xfrm>
          <a:prstGeom prst="rect">
            <a:avLst/>
          </a:prstGeom>
        </p:spPr>
      </p:pic>
      <p:sp>
        <p:nvSpPr>
          <p:cNvPr id="36" name="TextBox 35">
            <a:extLst>
              <a:ext uri="{FF2B5EF4-FFF2-40B4-BE49-F238E27FC236}">
                <a16:creationId xmlns:a16="http://schemas.microsoft.com/office/drawing/2014/main" id="{87DE9C2D-C400-713C-8A35-AA4AC7DED97F}"/>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7FD1EF"/>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7FD1EF"/>
                </a:solidFill>
                <a:effectLst/>
                <a:uLnTx/>
                <a:uFillTx/>
                <a:latin typeface="Noto Sans"/>
                <a:ea typeface="Arial" charset="0"/>
                <a:cs typeface="Arial" charset="0"/>
              </a:rPr>
              <a:t> is a registered trademark of IQVIA Inc. in the United States, the European Union, and various other countries. </a:t>
            </a:r>
          </a:p>
        </p:txBody>
      </p:sp>
      <p:sp>
        <p:nvSpPr>
          <p:cNvPr id="2" name="Text Placeholder 21">
            <a:extLst>
              <a:ext uri="{FF2B5EF4-FFF2-40B4-BE49-F238E27FC236}">
                <a16:creationId xmlns:a16="http://schemas.microsoft.com/office/drawing/2014/main" id="{860022E3-44E7-94B3-673D-7A83DC626D61}"/>
              </a:ext>
            </a:extLst>
          </p:cNvPr>
          <p:cNvSpPr>
            <a:spLocks noGrp="1"/>
          </p:cNvSpPr>
          <p:nvPr>
            <p:ph type="body" sz="quarter" idx="11" hasCustomPrompt="1"/>
          </p:nvPr>
        </p:nvSpPr>
        <p:spPr>
          <a:xfrm>
            <a:off x="560269" y="3700879"/>
            <a:ext cx="4849931" cy="1035087"/>
          </a:xfrm>
          <a:prstGeom prst="rect">
            <a:avLst/>
          </a:prstGeom>
        </p:spPr>
        <p:txBody>
          <a:bodyPr>
            <a:noAutofit/>
          </a:bodyPr>
          <a:lstStyle>
            <a:lvl1pPr marL="0" indent="0" algn="l">
              <a:lnSpc>
                <a:spcPct val="100000"/>
              </a:lnSpc>
              <a:spcBef>
                <a:spcPts val="0"/>
              </a:spcBef>
              <a:buNone/>
              <a:defRPr sz="2000" b="0" i="0">
                <a:solidFill>
                  <a:srgbClr val="00CCFF"/>
                </a:solidFill>
                <a:latin typeface="+mj-lt"/>
              </a:defRPr>
            </a:lvl1pPr>
          </a:lstStyle>
          <a:p>
            <a:pPr lvl="0"/>
            <a:r>
              <a:rPr lang="en-US"/>
              <a:t>Subheads are 20pt Noto Sans sentence case</a:t>
            </a:r>
          </a:p>
        </p:txBody>
      </p:sp>
      <p:sp>
        <p:nvSpPr>
          <p:cNvPr id="4" name="Title 1">
            <a:extLst>
              <a:ext uri="{FF2B5EF4-FFF2-40B4-BE49-F238E27FC236}">
                <a16:creationId xmlns:a16="http://schemas.microsoft.com/office/drawing/2014/main" id="{B8700D2F-0738-919B-C35D-CB0DEA2A88A0}"/>
              </a:ext>
            </a:extLst>
          </p:cNvPr>
          <p:cNvSpPr>
            <a:spLocks noGrp="1"/>
          </p:cNvSpPr>
          <p:nvPr>
            <p:ph type="ctrTitle" hasCustomPrompt="1"/>
          </p:nvPr>
        </p:nvSpPr>
        <p:spPr>
          <a:xfrm>
            <a:off x="560269" y="1439889"/>
            <a:ext cx="4849931" cy="2088828"/>
          </a:xfrm>
          <a:prstGeom prst="rect">
            <a:avLst/>
          </a:prstGeom>
        </p:spPr>
        <p:txBody>
          <a:bodyPr vert="horz" anchor="b" anchorCtr="0"/>
          <a:lstStyle>
            <a:lvl1pPr algn="l">
              <a:lnSpc>
                <a:spcPct val="100000"/>
              </a:lnSpc>
              <a:defRPr sz="4400" b="0" i="0" baseline="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5" name="Subtitle 2">
            <a:extLst>
              <a:ext uri="{FF2B5EF4-FFF2-40B4-BE49-F238E27FC236}">
                <a16:creationId xmlns:a16="http://schemas.microsoft.com/office/drawing/2014/main" id="{C3A1FE95-0855-D501-FF26-012CD590C28C}"/>
              </a:ext>
            </a:extLst>
          </p:cNvPr>
          <p:cNvSpPr>
            <a:spLocks noGrp="1"/>
          </p:cNvSpPr>
          <p:nvPr>
            <p:ph type="subTitle" idx="1" hasCustomPrompt="1"/>
          </p:nvPr>
        </p:nvSpPr>
        <p:spPr>
          <a:xfrm>
            <a:off x="560269" y="4540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6" name="Text Placeholder 13">
            <a:extLst>
              <a:ext uri="{FF2B5EF4-FFF2-40B4-BE49-F238E27FC236}">
                <a16:creationId xmlns:a16="http://schemas.microsoft.com/office/drawing/2014/main" id="{2D8CDC11-4E82-CC71-FA89-59B33D5F4A95}"/>
              </a:ext>
            </a:extLst>
          </p:cNvPr>
          <p:cNvSpPr>
            <a:spLocks noGrp="1"/>
          </p:cNvSpPr>
          <p:nvPr>
            <p:ph type="body" sz="quarter" idx="17" hasCustomPrompt="1"/>
          </p:nvPr>
        </p:nvSpPr>
        <p:spPr>
          <a:xfrm>
            <a:off x="560269" y="4908128"/>
            <a:ext cx="4849931" cy="385767"/>
          </a:xfrm>
          <a:prstGeom prst="rect">
            <a:avLst/>
          </a:prstGeom>
        </p:spPr>
        <p:txBody>
          <a:bodyPr/>
          <a:lstStyle>
            <a:lvl1pPr marL="0" indent="0">
              <a:buFontTx/>
              <a:buNone/>
              <a:defRPr sz="14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spTree>
    <p:extLst>
      <p:ext uri="{BB962C8B-B14F-4D97-AF65-F5344CB8AC3E}">
        <p14:creationId xmlns:p14="http://schemas.microsoft.com/office/powerpoint/2010/main" val="7599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2026-09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51896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2562DA74-18F7-19C5-53FC-AD93FC6B5807}"/>
              </a:ext>
            </a:extLst>
          </p:cNvPr>
          <p:cNvSpPr/>
          <p:nvPr userDrawn="1"/>
        </p:nvSpPr>
        <p:spPr>
          <a:xfrm>
            <a:off x="648119" y="2375037"/>
            <a:ext cx="1730943" cy="3819542"/>
          </a:xfrm>
          <a:prstGeom prst="roundRect">
            <a:avLst>
              <a:gd name="adj" fmla="val 49328"/>
            </a:avLst>
          </a:prstGeom>
          <a:gradFill>
            <a:gsLst>
              <a:gs pos="0">
                <a:srgbClr val="6EEAC4"/>
              </a:gs>
              <a:gs pos="4000">
                <a:srgbClr val="69DFBD"/>
              </a:gs>
              <a:gs pos="39000">
                <a:srgbClr val="458588"/>
              </a:gs>
              <a:gs pos="68000">
                <a:srgbClr val="2A4360"/>
              </a:gs>
              <a:gs pos="89000">
                <a:srgbClr val="191A48"/>
              </a:gs>
              <a:gs pos="100000">
                <a:srgbClr val="130B3F"/>
              </a:gs>
            </a:gsLst>
            <a:lin ang="16200000" scaled="1"/>
          </a:gra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Subtitle 2">
            <a:extLst>
              <a:ext uri="{FF2B5EF4-FFF2-40B4-BE49-F238E27FC236}">
                <a16:creationId xmlns:a16="http://schemas.microsoft.com/office/drawing/2014/main" id="{4F08590D-7AB4-C9BE-B902-DC26BCDC65AD}"/>
              </a:ext>
            </a:extLst>
          </p:cNvPr>
          <p:cNvSpPr>
            <a:spLocks noGrp="1"/>
          </p:cNvSpPr>
          <p:nvPr>
            <p:ph type="subTitle" idx="1" hasCustomPrompt="1"/>
          </p:nvPr>
        </p:nvSpPr>
        <p:spPr>
          <a:xfrm>
            <a:off x="560269" y="2000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Picture Placeholder 4">
            <a:extLst>
              <a:ext uri="{FF2B5EF4-FFF2-40B4-BE49-F238E27FC236}">
                <a16:creationId xmlns:a16="http://schemas.microsoft.com/office/drawing/2014/main" id="{FB62F432-FEE6-8978-5F40-FEC041C6C4B4}"/>
              </a:ext>
            </a:extLst>
          </p:cNvPr>
          <p:cNvSpPr>
            <a:spLocks noGrp="1"/>
          </p:cNvSpPr>
          <p:nvPr>
            <p:ph type="pic" sz="quarter" idx="15" hasCustomPrompt="1"/>
          </p:nvPr>
        </p:nvSpPr>
        <p:spPr>
          <a:xfrm>
            <a:off x="648119" y="622721"/>
            <a:ext cx="1728216" cy="1728216"/>
          </a:xfrm>
          <a:prstGeom prst="ellipse">
            <a:avLst/>
          </a:prstGeom>
          <a:blipFill>
            <a:blip r:embed="rId5"/>
            <a:stretch>
              <a:fillRect/>
            </a:stretch>
          </a:blipFill>
          <a:ln>
            <a:no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 name="Rectangle: Rounded Corners 5">
            <a:extLst>
              <a:ext uri="{FF2B5EF4-FFF2-40B4-BE49-F238E27FC236}">
                <a16:creationId xmlns:a16="http://schemas.microsoft.com/office/drawing/2014/main" id="{9E9020F3-8CAD-064C-515D-02A876808C1B}"/>
              </a:ext>
            </a:extLst>
          </p:cNvPr>
          <p:cNvSpPr/>
          <p:nvPr userDrawn="1"/>
        </p:nvSpPr>
        <p:spPr>
          <a:xfrm>
            <a:off x="2379546" y="623569"/>
            <a:ext cx="1730943" cy="3819542"/>
          </a:xfrm>
          <a:prstGeom prst="roundRect">
            <a:avLst>
              <a:gd name="adj" fmla="val 49328"/>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9" name="Oval 8">
            <a:extLst>
              <a:ext uri="{FF2B5EF4-FFF2-40B4-BE49-F238E27FC236}">
                <a16:creationId xmlns:a16="http://schemas.microsoft.com/office/drawing/2014/main" id="{07E83114-165C-1322-953A-6186533660A7}"/>
              </a:ext>
            </a:extLst>
          </p:cNvPr>
          <p:cNvSpPr>
            <a:spLocks/>
          </p:cNvSpPr>
          <p:nvPr userDrawn="1"/>
        </p:nvSpPr>
        <p:spPr>
          <a:xfrm>
            <a:off x="648119" y="4478373"/>
            <a:ext cx="1728216" cy="1728216"/>
          </a:xfrm>
          <a:prstGeom prst="ellipse">
            <a:avLst/>
          </a:prstGeom>
          <a:solidFill>
            <a:srgbClr val="0CE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1" name="Picture Placeholder 20">
            <a:extLst>
              <a:ext uri="{FF2B5EF4-FFF2-40B4-BE49-F238E27FC236}">
                <a16:creationId xmlns:a16="http://schemas.microsoft.com/office/drawing/2014/main" id="{CDF14F0E-00FB-45E7-BA8A-D52C93844BE8}"/>
              </a:ext>
            </a:extLst>
          </p:cNvPr>
          <p:cNvSpPr>
            <a:spLocks noGrp="1"/>
          </p:cNvSpPr>
          <p:nvPr>
            <p:ph type="pic" sz="quarter" idx="14" hasCustomPrompt="1"/>
          </p:nvPr>
        </p:nvSpPr>
        <p:spPr>
          <a:xfrm>
            <a:off x="2384626" y="4456529"/>
            <a:ext cx="3600449" cy="1750060"/>
          </a:xfrm>
          <a:prstGeom prst="roundRect">
            <a:avLst>
              <a:gd name="adj" fmla="val 50000"/>
            </a:avLst>
          </a:prstGeom>
          <a:blipFill>
            <a:blip r:embed="rId6">
              <a:alphaModFix/>
            </a:blip>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2" name="Text Placeholder 21">
            <a:extLst>
              <a:ext uri="{FF2B5EF4-FFF2-40B4-BE49-F238E27FC236}">
                <a16:creationId xmlns:a16="http://schemas.microsoft.com/office/drawing/2014/main" id="{11BE6C84-E2C6-DDB5-A020-1D90363B2454}"/>
              </a:ext>
            </a:extLst>
          </p:cNvPr>
          <p:cNvSpPr>
            <a:spLocks noGrp="1"/>
          </p:cNvSpPr>
          <p:nvPr>
            <p:ph type="body" sz="quarter" idx="11" hasCustomPrompt="1"/>
          </p:nvPr>
        </p:nvSpPr>
        <p:spPr>
          <a:xfrm>
            <a:off x="6324599" y="4556224"/>
            <a:ext cx="5247793" cy="1035087"/>
          </a:xfrm>
          <a:prstGeom prst="rect">
            <a:avLst/>
          </a:prstGeom>
        </p:spPr>
        <p:txBody>
          <a:bodyPr>
            <a:noAutofit/>
          </a:bodyPr>
          <a:lstStyle>
            <a:lvl1pPr marL="0" indent="0" algn="l">
              <a:lnSpc>
                <a:spcPct val="100000"/>
              </a:lnSpc>
              <a:spcBef>
                <a:spcPts val="0"/>
              </a:spcBef>
              <a:buNone/>
              <a:defRPr sz="2000" b="0" i="0">
                <a:solidFill>
                  <a:schemeClr val="accent2"/>
                </a:solidFill>
                <a:latin typeface="+mj-lt"/>
              </a:defRPr>
            </a:lvl1pPr>
          </a:lstStyle>
          <a:p>
            <a:pPr lvl="0"/>
            <a:r>
              <a:rPr lang="en-US"/>
              <a:t>Subheads are 20pt Noto Sans </a:t>
            </a:r>
            <a:br>
              <a:rPr lang="en-US"/>
            </a:br>
            <a:r>
              <a:rPr lang="en-US"/>
              <a:t>sentence case</a:t>
            </a:r>
          </a:p>
        </p:txBody>
      </p:sp>
      <p:sp>
        <p:nvSpPr>
          <p:cNvPr id="23" name="Title 1">
            <a:extLst>
              <a:ext uri="{FF2B5EF4-FFF2-40B4-BE49-F238E27FC236}">
                <a16:creationId xmlns:a16="http://schemas.microsoft.com/office/drawing/2014/main" id="{487CCCF8-1C79-7D58-EE48-AF6A9196C7B9}"/>
              </a:ext>
            </a:extLst>
          </p:cNvPr>
          <p:cNvSpPr>
            <a:spLocks noGrp="1"/>
          </p:cNvSpPr>
          <p:nvPr>
            <p:ph type="ctrTitle" hasCustomPrompt="1"/>
          </p:nvPr>
        </p:nvSpPr>
        <p:spPr>
          <a:xfrm>
            <a:off x="6324599" y="2304759"/>
            <a:ext cx="524779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a:t>
            </a:r>
            <a:br>
              <a:rPr lang="en-US"/>
            </a:br>
            <a:r>
              <a:rPr lang="en-US"/>
              <a:t>Noto Sans Light Title Case</a:t>
            </a:r>
          </a:p>
        </p:txBody>
      </p:sp>
      <p:sp>
        <p:nvSpPr>
          <p:cNvPr id="25" name="TextBox 24">
            <a:extLst>
              <a:ext uri="{FF2B5EF4-FFF2-40B4-BE49-F238E27FC236}">
                <a16:creationId xmlns:a16="http://schemas.microsoft.com/office/drawing/2014/main" id="{85CBFB29-7615-D0CB-3A29-CF41540B999E}"/>
              </a:ext>
            </a:extLst>
          </p:cNvPr>
          <p:cNvSpPr txBox="1"/>
          <p:nvPr userDrawn="1"/>
        </p:nvSpPr>
        <p:spPr bwMode="black">
          <a:xfrm>
            <a:off x="560269"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pic>
        <p:nvPicPr>
          <p:cNvPr id="30" name="Graphic 29">
            <a:extLst>
              <a:ext uri="{FF2B5EF4-FFF2-40B4-BE49-F238E27FC236}">
                <a16:creationId xmlns:a16="http://schemas.microsoft.com/office/drawing/2014/main" id="{230B9294-49C2-9A41-4093-3BF610123F60}"/>
              </a:ext>
            </a:extLst>
          </p:cNvPr>
          <p:cNvPicPr>
            <a:picLocks/>
          </p:cNvPicPr>
          <p:nvPr userDrawn="1"/>
        </p:nvPicPr>
        <p:blipFill>
          <a:blip>
            <a:extLst>
              <a:ext uri="{96DAC541-7B7A-43D3-8B79-37D633B846F1}">
                <asvg:svgBlip xmlns:asvg="http://schemas.microsoft.com/office/drawing/2016/SVG/main" r:embed="rId7"/>
              </a:ext>
            </a:extLst>
          </a:blip>
          <a:stretch>
            <a:fillRect/>
          </a:stretch>
        </p:blipFill>
        <p:spPr>
          <a:xfrm>
            <a:off x="9360095" y="611533"/>
            <a:ext cx="2212298" cy="399963"/>
          </a:xfrm>
          <a:prstGeom prst="rect">
            <a:avLst/>
          </a:prstGeom>
        </p:spPr>
      </p:pic>
      <p:sp>
        <p:nvSpPr>
          <p:cNvPr id="11" name="Picture Placeholder 10">
            <a:extLst>
              <a:ext uri="{FF2B5EF4-FFF2-40B4-BE49-F238E27FC236}">
                <a16:creationId xmlns:a16="http://schemas.microsoft.com/office/drawing/2014/main" id="{C5E08318-F3D9-A07C-F68B-384AFC7798EA}"/>
              </a:ext>
            </a:extLst>
          </p:cNvPr>
          <p:cNvSpPr>
            <a:spLocks noGrp="1"/>
          </p:cNvSpPr>
          <p:nvPr>
            <p:ph type="pic" sz="quarter" idx="16" hasCustomPrompt="1"/>
          </p:nvPr>
        </p:nvSpPr>
        <p:spPr>
          <a:xfrm>
            <a:off x="5869518" y="623569"/>
            <a:ext cx="2933699" cy="1431514"/>
          </a:xfrm>
          <a:custGeom>
            <a:avLst/>
            <a:gdLst>
              <a:gd name="connsiteX0" fmla="*/ 715757 w 2933699"/>
              <a:gd name="connsiteY0" fmla="*/ 0 h 1431514"/>
              <a:gd name="connsiteX1" fmla="*/ 2217942 w 2933699"/>
              <a:gd name="connsiteY1" fmla="*/ 0 h 1431514"/>
              <a:gd name="connsiteX2" fmla="*/ 2933699 w 2933699"/>
              <a:gd name="connsiteY2" fmla="*/ 715757 h 1431514"/>
              <a:gd name="connsiteX3" fmla="*/ 2217942 w 2933699"/>
              <a:gd name="connsiteY3" fmla="*/ 1431514 h 1431514"/>
              <a:gd name="connsiteX4" fmla="*/ 715757 w 2933699"/>
              <a:gd name="connsiteY4" fmla="*/ 1431514 h 1431514"/>
              <a:gd name="connsiteX5" fmla="*/ 0 w 2933699"/>
              <a:gd name="connsiteY5" fmla="*/ 715757 h 1431514"/>
              <a:gd name="connsiteX6" fmla="*/ 715757 w 2933699"/>
              <a:gd name="connsiteY6" fmla="*/ 0 h 143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699" h="1431514">
                <a:moveTo>
                  <a:pt x="715757" y="0"/>
                </a:moveTo>
                <a:lnTo>
                  <a:pt x="2217942" y="0"/>
                </a:lnTo>
                <a:cubicBezTo>
                  <a:pt x="2613244" y="0"/>
                  <a:pt x="2933699" y="320455"/>
                  <a:pt x="2933699" y="715757"/>
                </a:cubicBezTo>
                <a:cubicBezTo>
                  <a:pt x="2933699" y="1111059"/>
                  <a:pt x="2613244" y="1431514"/>
                  <a:pt x="2217942" y="1431514"/>
                </a:cubicBezTo>
                <a:lnTo>
                  <a:pt x="715757" y="1431514"/>
                </a:lnTo>
                <a:cubicBezTo>
                  <a:pt x="320456" y="1431514"/>
                  <a:pt x="0" y="1111059"/>
                  <a:pt x="0" y="715757"/>
                </a:cubicBezTo>
                <a:cubicBezTo>
                  <a:pt x="0" y="320455"/>
                  <a:pt x="320456" y="0"/>
                  <a:pt x="715757" y="0"/>
                </a:cubicBezTo>
                <a:close/>
              </a:path>
            </a:pathLst>
          </a:custGeom>
          <a:blipFill>
            <a:blip r:embed="rId8"/>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4" name="Text Placeholder 13">
            <a:extLst>
              <a:ext uri="{FF2B5EF4-FFF2-40B4-BE49-F238E27FC236}">
                <a16:creationId xmlns:a16="http://schemas.microsoft.com/office/drawing/2014/main" id="{94211D75-A79E-56DC-E881-52C0CC027566}"/>
              </a:ext>
            </a:extLst>
          </p:cNvPr>
          <p:cNvSpPr>
            <a:spLocks noGrp="1"/>
          </p:cNvSpPr>
          <p:nvPr>
            <p:ph type="body" sz="quarter" idx="17" hasCustomPrompt="1"/>
          </p:nvPr>
        </p:nvSpPr>
        <p:spPr>
          <a:xfrm>
            <a:off x="6324598" y="5753948"/>
            <a:ext cx="5247793" cy="385767"/>
          </a:xfrm>
          <a:prstGeom prst="rect">
            <a:avLst/>
          </a:prstGeom>
        </p:spPr>
        <p:txBody>
          <a:bodyPr/>
          <a:lstStyle>
            <a:lvl1pPr marL="0" indent="0">
              <a:buFontTx/>
              <a:buNone/>
              <a:defRPr sz="1400">
                <a:solidFill>
                  <a:schemeClr val="tx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a:t>Author First Last Name, Title 14pt Noto Sans</a:t>
            </a:r>
          </a:p>
        </p:txBody>
      </p:sp>
      <p:pic>
        <p:nvPicPr>
          <p:cNvPr id="12" name="Graphic 11">
            <a:extLst>
              <a:ext uri="{FF2B5EF4-FFF2-40B4-BE49-F238E27FC236}">
                <a16:creationId xmlns:a16="http://schemas.microsoft.com/office/drawing/2014/main" id="{1CF48BE1-E766-5FA2-D411-8460923A9A1B}"/>
              </a:ext>
            </a:extLst>
          </p:cNvPr>
          <p:cNvPicPr>
            <a:picLocks noChangeAspect="1"/>
          </p:cNvPicPr>
          <p:nvPr userDrawn="1"/>
        </p:nvPicPr>
        <p:blipFill>
          <a:blip>
            <a:extLst>
              <a:ext uri="{96DAC541-7B7A-43D3-8B79-37D633B846F1}">
                <asvg:svgBlip xmlns:asvg="http://schemas.microsoft.com/office/drawing/2016/SVG/main" r:embed="rId9"/>
              </a:ext>
            </a:extLst>
          </a:blip>
          <a:stretch>
            <a:fillRect/>
          </a:stretch>
        </p:blipFill>
        <p:spPr>
          <a:xfrm>
            <a:off x="4110117" y="2770343"/>
            <a:ext cx="1684470" cy="1684470"/>
          </a:xfrm>
          <a:prstGeom prst="rect">
            <a:avLst/>
          </a:prstGeom>
        </p:spPr>
      </p:pic>
      <p:pic>
        <p:nvPicPr>
          <p:cNvPr id="24" name="Graphic 23">
            <a:extLst>
              <a:ext uri="{FF2B5EF4-FFF2-40B4-BE49-F238E27FC236}">
                <a16:creationId xmlns:a16="http://schemas.microsoft.com/office/drawing/2014/main" id="{1E6FE9EC-397D-B942-0236-819BCED1063D}"/>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4110117" y="623569"/>
            <a:ext cx="1757680" cy="2274646"/>
          </a:xfrm>
          <a:prstGeom prst="rect">
            <a:avLst/>
          </a:prstGeom>
        </p:spPr>
      </p:pic>
    </p:spTree>
    <p:extLst>
      <p:ext uri="{BB962C8B-B14F-4D97-AF65-F5344CB8AC3E}">
        <p14:creationId xmlns:p14="http://schemas.microsoft.com/office/powerpoint/2010/main" val="214729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Co-Brand 2026-10 - IQVIA">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43B117B-9DAD-CC97-C2A8-66F44CA68FD8}"/>
              </a:ext>
            </a:extLst>
          </p:cNvPr>
          <p:cNvGraphicFramePr>
            <a:graphicFrameLocks noChangeAspect="1"/>
          </p:cNvGraphicFramePr>
          <p:nvPr userDrawn="1">
            <p:custDataLst>
              <p:tags r:id="rId1"/>
            </p:custDataLst>
            <p:extLst>
              <p:ext uri="{D42A27DB-BD31-4B8C-83A1-F6EECF244321}">
                <p14:modId xmlns:p14="http://schemas.microsoft.com/office/powerpoint/2010/main" val="237742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C43B117B-9DAD-CC97-C2A8-66F44CA68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000" b="0" i="1">
                <a:solidFill>
                  <a:schemeClr val="accent2"/>
                </a:solidFill>
                <a:latin typeface="+mj-lt"/>
              </a:defRPr>
            </a:lvl1pPr>
          </a:lstStyle>
          <a:p>
            <a:pPr lvl="0"/>
            <a:r>
              <a:rPr lang="en-US"/>
              <a:t>Subheads are 20pt Noto Sans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vert="horz" anchor="b" anchorCtr="0"/>
          <a:lstStyle>
            <a:lvl1pPr algn="l">
              <a:lnSpc>
                <a:spcPct val="100000"/>
              </a:lnSpc>
              <a:defRPr sz="4400" b="0" i="0" baseline="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Headline 44pt Noto Sans Light Title Case</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40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4pt Noto Sans</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rIns="45720">
            <a:noAutofit/>
          </a:bodyPr>
          <a:lstStyle>
            <a:lvl1pPr marL="0" indent="0" algn="l">
              <a:lnSpc>
                <a:spcPct val="100000"/>
              </a:lnSpc>
              <a:spcBef>
                <a:spcPts val="600"/>
              </a:spcBef>
              <a:buNone/>
              <a:defRPr sz="1000" b="0" i="0">
                <a:solidFill>
                  <a:schemeClr val="bg1"/>
                </a:solidFill>
                <a:latin typeface="+mj-lt"/>
              </a:defRPr>
            </a:lvl1pPr>
          </a:lstStyle>
          <a:p>
            <a:pPr lvl="0"/>
            <a:r>
              <a:rPr lang="en-US"/>
              <a:t>Co-brand and bid defense only: You may replace this box with a sponsor logo. Ensure the logo is on a white or transparent background and you have usage permission.</a:t>
            </a:r>
          </a:p>
          <a:p>
            <a:pPr lvl="0"/>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2026. All rights reserved. IQVIA</a:t>
            </a:r>
            <a:r>
              <a:rPr kumimoji="0" lang="en-US" sz="800" b="0" i="0" u="none" strike="noStrike" kern="1200" cap="none" spc="0" normalizeH="0" baseline="30000" noProof="0">
                <a:ln>
                  <a:noFill/>
                </a:ln>
                <a:solidFill>
                  <a:srgbClr val="FFFFFF">
                    <a:lumMod val="50000"/>
                  </a:srgbClr>
                </a:solidFill>
                <a:effectLst/>
                <a:uLnTx/>
                <a:uFillTx/>
                <a:latin typeface="Noto Sans"/>
                <a:ea typeface="Arial" charset="0"/>
                <a:cs typeface="Arial" charset="0"/>
              </a:rPr>
              <a:t>®</a:t>
            </a:r>
            <a:r>
              <a:rPr kumimoji="0" lang="en-US" sz="800" b="0" i="0" u="none" strike="noStrike" kern="1200" cap="none" spc="0" normalizeH="0" baseline="0" noProof="0">
                <a:ln>
                  <a:noFill/>
                </a:ln>
                <a:solidFill>
                  <a:srgbClr val="FFFFFF">
                    <a:lumMod val="50000"/>
                  </a:srgbClr>
                </a:solidFill>
                <a:effectLst/>
                <a:uLnTx/>
                <a:uFillTx/>
                <a:latin typeface="Noto Sans"/>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218152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A8A15E-1053-38DD-AC1D-5EA46364C078}"/>
              </a:ext>
            </a:extLst>
          </p:cNvPr>
          <p:cNvGraphicFramePr>
            <a:graphicFrameLocks noChangeAspect="1"/>
          </p:cNvGraphicFramePr>
          <p:nvPr userDrawn="1">
            <p:custDataLst>
              <p:tags r:id="rId1"/>
            </p:custDataLst>
            <p:extLst>
              <p:ext uri="{D42A27DB-BD31-4B8C-83A1-F6EECF244321}">
                <p14:modId xmlns:p14="http://schemas.microsoft.com/office/powerpoint/2010/main" val="109620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05A8A15E-1053-38DD-AC1D-5EA46364C0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6313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AD4242-30D3-4D6F-83E1-9D8590EAE0FF}" type="datetimeFigureOut">
              <a:rPr lang="en-GB" smtClean="0"/>
              <a:t>01/07/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23308483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56B5BD-D0BB-AFCA-634D-8774ECD5E040}"/>
              </a:ext>
            </a:extLst>
          </p:cNvPr>
          <p:cNvGraphicFramePr>
            <a:graphicFrameLocks noChangeAspect="1"/>
          </p:cNvGraphicFramePr>
          <p:nvPr userDrawn="1">
            <p:custDataLst>
              <p:tags r:id="rId1"/>
            </p:custDataLst>
            <p:extLst>
              <p:ext uri="{D42A27DB-BD31-4B8C-83A1-F6EECF244321}">
                <p14:modId xmlns:p14="http://schemas.microsoft.com/office/powerpoint/2010/main" val="259286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1556B5BD-D0BB-AFCA-634D-8774ECD5E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44015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7927AA-6E3C-3281-2AB0-473A1A133008}"/>
              </a:ext>
            </a:extLst>
          </p:cNvPr>
          <p:cNvGraphicFramePr>
            <a:graphicFrameLocks noChangeAspect="1"/>
          </p:cNvGraphicFramePr>
          <p:nvPr userDrawn="1">
            <p:custDataLst>
              <p:tags r:id="rId1"/>
            </p:custDataLst>
            <p:extLst>
              <p:ext uri="{D42A27DB-BD31-4B8C-83A1-F6EECF244321}">
                <p14:modId xmlns:p14="http://schemas.microsoft.com/office/powerpoint/2010/main" val="159847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827927AA-6E3C-3281-2AB0-473A1A1330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082396"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spTree>
    <p:extLst>
      <p:ext uri="{BB962C8B-B14F-4D97-AF65-F5344CB8AC3E}">
        <p14:creationId xmlns:p14="http://schemas.microsoft.com/office/powerpoint/2010/main" val="104090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8F84D9-5BB2-7598-FDD4-DE7D2E900F66}"/>
              </a:ext>
            </a:extLst>
          </p:cNvPr>
          <p:cNvGraphicFramePr>
            <a:graphicFrameLocks noChangeAspect="1"/>
          </p:cNvGraphicFramePr>
          <p:nvPr userDrawn="1">
            <p:custDataLst>
              <p:tags r:id="rId1"/>
            </p:custDataLst>
            <p:extLst>
              <p:ext uri="{D42A27DB-BD31-4B8C-83A1-F6EECF244321}">
                <p14:modId xmlns:p14="http://schemas.microsoft.com/office/powerpoint/2010/main" val="431698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B8F84D9-5BB2-7598-FDD4-DE7D2E900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tx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t>
            </a:r>
            <a:r>
              <a:rPr lang="en-US"/>
              <a:t>Noto Sans</a:t>
            </a:r>
            <a:r>
              <a:rPr lang="en-US" noProof="0"/>
              <a:t>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sed diam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tx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a:defRPr sz="2800" b="1">
                <a:solidFill>
                  <a:schemeClr val="tx1"/>
                </a:solidFill>
                <a:latin typeface="+mj-lt"/>
              </a:defRPr>
            </a:lvl1pPr>
          </a:lstStyle>
          <a:p>
            <a:r>
              <a:rPr lang="en-US"/>
              <a:t>Headlines are 28pt Noto Sans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5238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A0FCE1-040D-C5C9-0D6C-D0BC2BC5EE7A}"/>
              </a:ext>
            </a:extLst>
          </p:cNvPr>
          <p:cNvGraphicFramePr>
            <a:graphicFrameLocks noChangeAspect="1"/>
          </p:cNvGraphicFramePr>
          <p:nvPr userDrawn="1">
            <p:custDataLst>
              <p:tags r:id="rId1"/>
            </p:custDataLst>
            <p:extLst>
              <p:ext uri="{D42A27DB-BD31-4B8C-83A1-F6EECF244321}">
                <p14:modId xmlns:p14="http://schemas.microsoft.com/office/powerpoint/2010/main" val="21816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FA0FCE1-040D-C5C9-0D6C-D0BC2BC5E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387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F0D803-AE05-DFA0-7C50-E5A7C3AE89EC}"/>
              </a:ext>
            </a:extLst>
          </p:cNvPr>
          <p:cNvGraphicFramePr>
            <a:graphicFrameLocks noChangeAspect="1"/>
          </p:cNvGraphicFramePr>
          <p:nvPr userDrawn="1">
            <p:custDataLst>
              <p:tags r:id="rId1"/>
            </p:custDataLst>
            <p:extLst>
              <p:ext uri="{D42A27DB-BD31-4B8C-83A1-F6EECF244321}">
                <p14:modId xmlns:p14="http://schemas.microsoft.com/office/powerpoint/2010/main" val="87590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D6F0D803-AE05-DFA0-7C50-E5A7C3AE89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7704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EBE655-8CD4-3111-DF6A-4F3DB7213B75}"/>
              </a:ext>
            </a:extLst>
          </p:cNvPr>
          <p:cNvGraphicFramePr>
            <a:graphicFrameLocks noChangeAspect="1"/>
          </p:cNvGraphicFramePr>
          <p:nvPr userDrawn="1">
            <p:custDataLst>
              <p:tags r:id="rId1"/>
            </p:custDataLst>
            <p:extLst>
              <p:ext uri="{D42A27DB-BD31-4B8C-83A1-F6EECF244321}">
                <p14:modId xmlns:p14="http://schemas.microsoft.com/office/powerpoint/2010/main" val="134594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DEBE655-8CD4-3111-DF6A-4F3DB7213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latin typeface="+mj-lt"/>
              </a:defRPr>
            </a:lvl1pPr>
            <a:lvl2pPr marL="365760" indent="-182880">
              <a:lnSpc>
                <a:spcPct val="100000"/>
              </a:lnSpc>
              <a:spcBef>
                <a:spcPts val="800"/>
              </a:spcBef>
              <a:buFont typeface="Arial" panose="020B0604020202020204" pitchFamily="34" charset="0"/>
              <a:buChar char="-"/>
              <a:defRPr sz="1600">
                <a:solidFill>
                  <a:schemeClr val="tx1"/>
                </a:solidFill>
                <a:latin typeface="+mj-lt"/>
              </a:defRPr>
            </a:lvl2pPr>
            <a:lvl3pPr marL="548640" indent="-182880">
              <a:lnSpc>
                <a:spcPct val="100000"/>
              </a:lnSpc>
              <a:spcBef>
                <a:spcPts val="800"/>
              </a:spcBef>
              <a:buFont typeface="Arial" panose="020B0604020202020204" pitchFamily="34" charset="0"/>
              <a:buChar char="›"/>
              <a:defRPr sz="1600">
                <a:solidFill>
                  <a:schemeClr val="tx1"/>
                </a:solidFill>
                <a:latin typeface="+mj-lt"/>
              </a:defRPr>
            </a:lvl3pPr>
            <a:lvl4pPr marL="731520" indent="-182880">
              <a:lnSpc>
                <a:spcPct val="100000"/>
              </a:lnSpc>
              <a:spcBef>
                <a:spcPts val="800"/>
              </a:spcBef>
              <a:buFont typeface="Arial" panose="020B0604020202020204" pitchFamily="34" charset="0"/>
              <a:buChar char="»"/>
              <a:defRPr sz="1600">
                <a:solidFill>
                  <a:schemeClr val="tx1"/>
                </a:solidFill>
                <a:latin typeface="+mj-lt"/>
              </a:defRPr>
            </a:lvl4pPr>
            <a:lvl5pPr marL="914400" indent="-182880">
              <a:lnSpc>
                <a:spcPct val="100000"/>
              </a:lnSpc>
              <a:spcBef>
                <a:spcPts val="800"/>
              </a:spcBef>
              <a:buSzPct val="75000"/>
              <a:buFont typeface="Wingdings" panose="05000000000000000000" pitchFamily="2" charset="2"/>
              <a:buChar char="§"/>
              <a:defRPr sz="1600">
                <a:solidFill>
                  <a:schemeClr val="tx1"/>
                </a:solidFill>
                <a:latin typeface="+mj-lt"/>
              </a:defRPr>
            </a:lvl5pPr>
          </a:lstStyle>
          <a:p>
            <a:pPr lvl="0"/>
            <a:r>
              <a:rPr lang="en-US"/>
              <a:t>Noto Sans 16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97743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F4ACCC-7F14-F438-ACE2-3F9BADE4A0E8}"/>
              </a:ext>
            </a:extLst>
          </p:cNvPr>
          <p:cNvGraphicFramePr>
            <a:graphicFrameLocks noChangeAspect="1"/>
          </p:cNvGraphicFramePr>
          <p:nvPr userDrawn="1">
            <p:custDataLst>
              <p:tags r:id="rId1"/>
            </p:custDataLst>
            <p:extLst>
              <p:ext uri="{D42A27DB-BD31-4B8C-83A1-F6EECF244321}">
                <p14:modId xmlns:p14="http://schemas.microsoft.com/office/powerpoint/2010/main" val="207565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35F4ACCC-7F14-F438-ACE2-3F9BADE4A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800" b="1">
                <a:solidFill>
                  <a:schemeClr val="tx1"/>
                </a:solidFill>
                <a:latin typeface="+mj-lt"/>
              </a:defRPr>
            </a:lvl1pPr>
          </a:lstStyle>
          <a:p>
            <a:r>
              <a:rPr lang="en-US"/>
              <a:t>Headlines are 28pt Noto Sans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870434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F36D22-2A16-B58B-E2E7-CC2E4CF2DC3C}"/>
              </a:ext>
            </a:extLst>
          </p:cNvPr>
          <p:cNvGraphicFramePr>
            <a:graphicFrameLocks noChangeAspect="1"/>
          </p:cNvGraphicFramePr>
          <p:nvPr userDrawn="1">
            <p:custDataLst>
              <p:tags r:id="rId1"/>
            </p:custDataLst>
            <p:extLst>
              <p:ext uri="{D42A27DB-BD31-4B8C-83A1-F6EECF244321}">
                <p14:modId xmlns:p14="http://schemas.microsoft.com/office/powerpoint/2010/main" val="5323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A7F36D22-2A16-B58B-E2E7-CC2E4CF2DC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2"/>
                </a:solidFill>
                <a:latin typeface="+mj-lt"/>
              </a:defRPr>
            </a:lvl1pPr>
          </a:lstStyle>
          <a:p>
            <a:pPr lvl="0"/>
            <a:r>
              <a:rPr lang="en-US"/>
              <a:t>Subheads are 20pt Noto Sans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latin typeface="+mj-lt"/>
              </a:defRPr>
            </a:lvl1pPr>
          </a:lstStyle>
          <a:p>
            <a:r>
              <a:rPr lang="en-US"/>
              <a:t>Headlines are 28pt Noto Sans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65858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5032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spTree>
    <p:extLst>
      <p:ext uri="{BB962C8B-B14F-4D97-AF65-F5344CB8AC3E}">
        <p14:creationId xmlns:p14="http://schemas.microsoft.com/office/powerpoint/2010/main" val="196723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BAD4242-30D3-4D6F-83E1-9D8590EAE0FF}" type="datetimeFigureOut">
              <a:rPr lang="en-GB" smtClean="0"/>
              <a:t>01/07/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6908586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81769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CE108673-A841-F2DC-4C63-9BA3E20F4525}"/>
              </a:ext>
            </a:extLst>
          </p:cNvPr>
          <p:cNvSpPr>
            <a:spLocks noGrp="1"/>
          </p:cNvSpPr>
          <p:nvPr>
            <p:ph type="pic" sz="quarter" idx="14" hasCustomPrompt="1"/>
          </p:nvPr>
        </p:nvSpPr>
        <p:spPr>
          <a:xfrm>
            <a:off x="0" y="0"/>
            <a:ext cx="1304263" cy="2595880"/>
          </a:xfrm>
          <a:custGeom>
            <a:avLst/>
            <a:gdLst>
              <a:gd name="connsiteX0" fmla="*/ 0 w 1304263"/>
              <a:gd name="connsiteY0" fmla="*/ 0 h 2595880"/>
              <a:gd name="connsiteX1" fmla="*/ 6322 w 1304263"/>
              <a:gd name="connsiteY1" fmla="*/ 0 h 2595880"/>
              <a:gd name="connsiteX2" fmla="*/ 1304263 w 1304263"/>
              <a:gd name="connsiteY2" fmla="*/ 1297940 h 2595880"/>
              <a:gd name="connsiteX3" fmla="*/ 1304263 w 1304263"/>
              <a:gd name="connsiteY3" fmla="*/ 1297940 h 2595880"/>
              <a:gd name="connsiteX4" fmla="*/ 6322 w 1304263"/>
              <a:gd name="connsiteY4" fmla="*/ 2595880 h 2595880"/>
              <a:gd name="connsiteX5" fmla="*/ 0 w 1304263"/>
              <a:gd name="connsiteY5" fmla="*/ 2595880 h 25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263" h="2595880">
                <a:moveTo>
                  <a:pt x="0" y="0"/>
                </a:moveTo>
                <a:lnTo>
                  <a:pt x="6322" y="0"/>
                </a:lnTo>
                <a:cubicBezTo>
                  <a:pt x="723155" y="0"/>
                  <a:pt x="1304263" y="581108"/>
                  <a:pt x="1304263" y="1297940"/>
                </a:cubicBezTo>
                <a:lnTo>
                  <a:pt x="1304263" y="1297940"/>
                </a:lnTo>
                <a:cubicBezTo>
                  <a:pt x="1304263" y="2014773"/>
                  <a:pt x="723155" y="2595880"/>
                  <a:pt x="6322" y="2595880"/>
                </a:cubicBezTo>
                <a:lnTo>
                  <a:pt x="0" y="2595880"/>
                </a:ln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426996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able of Contents-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392256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userDrawn="1"/>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2" name="Freeform: Shape 31">
            <a:extLst>
              <a:ext uri="{FF2B5EF4-FFF2-40B4-BE49-F238E27FC236}">
                <a16:creationId xmlns:a16="http://schemas.microsoft.com/office/drawing/2014/main" id="{301576D0-87DC-3682-FFCD-2F2E6A1F2A94}"/>
              </a:ext>
            </a:extLst>
          </p:cNvPr>
          <p:cNvSpPr/>
          <p:nvPr userDrawn="1"/>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1" name="Freeform: Shape 40">
            <a:extLst>
              <a:ext uri="{FF2B5EF4-FFF2-40B4-BE49-F238E27FC236}">
                <a16:creationId xmlns:a16="http://schemas.microsoft.com/office/drawing/2014/main" id="{46560C56-9182-2FB8-A10A-9F4D9E9AE16F}"/>
              </a:ext>
            </a:extLst>
          </p:cNvPr>
          <p:cNvSpPr/>
          <p:nvPr userDrawn="1"/>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31588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of Contents_Two Column-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512648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2" name="Content Placeholder 2">
            <a:extLst>
              <a:ext uri="{FF2B5EF4-FFF2-40B4-BE49-F238E27FC236}">
                <a16:creationId xmlns:a16="http://schemas.microsoft.com/office/drawing/2014/main" id="{FB18EDB9-5623-FD23-8C0E-AA29EDA7A30A}"/>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4" name="Content Placeholder 2">
            <a:extLst>
              <a:ext uri="{FF2B5EF4-FFF2-40B4-BE49-F238E27FC236}">
                <a16:creationId xmlns:a16="http://schemas.microsoft.com/office/drawing/2014/main" id="{F3149A18-341D-DEE9-36AF-B20C2CF51C83}"/>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5" name="Picture Placeholder 4">
            <a:extLst>
              <a:ext uri="{FF2B5EF4-FFF2-40B4-BE49-F238E27FC236}">
                <a16:creationId xmlns:a16="http://schemas.microsoft.com/office/drawing/2014/main" id="{6D3F2401-B526-950D-C991-D2062E340CC8}"/>
              </a:ext>
            </a:extLst>
          </p:cNvPr>
          <p:cNvSpPr>
            <a:spLocks noGrp="1"/>
          </p:cNvSpPr>
          <p:nvPr>
            <p:ph type="pic" sz="quarter" idx="14" hasCustomPrompt="1"/>
          </p:nvPr>
        </p:nvSpPr>
        <p:spPr>
          <a:xfrm>
            <a:off x="0" y="0"/>
            <a:ext cx="1304263" cy="2595880"/>
          </a:xfrm>
          <a:custGeom>
            <a:avLst/>
            <a:gdLst>
              <a:gd name="connsiteX0" fmla="*/ 0 w 1304263"/>
              <a:gd name="connsiteY0" fmla="*/ 0 h 2595880"/>
              <a:gd name="connsiteX1" fmla="*/ 6322 w 1304263"/>
              <a:gd name="connsiteY1" fmla="*/ 0 h 2595880"/>
              <a:gd name="connsiteX2" fmla="*/ 1304263 w 1304263"/>
              <a:gd name="connsiteY2" fmla="*/ 1297940 h 2595880"/>
              <a:gd name="connsiteX3" fmla="*/ 1304263 w 1304263"/>
              <a:gd name="connsiteY3" fmla="*/ 1297940 h 2595880"/>
              <a:gd name="connsiteX4" fmla="*/ 6322 w 1304263"/>
              <a:gd name="connsiteY4" fmla="*/ 2595880 h 2595880"/>
              <a:gd name="connsiteX5" fmla="*/ 0 w 1304263"/>
              <a:gd name="connsiteY5" fmla="*/ 2595880 h 259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263" h="2595880">
                <a:moveTo>
                  <a:pt x="0" y="0"/>
                </a:moveTo>
                <a:lnTo>
                  <a:pt x="6322" y="0"/>
                </a:lnTo>
                <a:cubicBezTo>
                  <a:pt x="723155" y="0"/>
                  <a:pt x="1304263" y="581108"/>
                  <a:pt x="1304263" y="1297940"/>
                </a:cubicBezTo>
                <a:lnTo>
                  <a:pt x="1304263" y="1297940"/>
                </a:lnTo>
                <a:cubicBezTo>
                  <a:pt x="1304263" y="2014773"/>
                  <a:pt x="723155" y="2595880"/>
                  <a:pt x="6322" y="2595880"/>
                </a:cubicBezTo>
                <a:lnTo>
                  <a:pt x="0" y="2595880"/>
                </a:lnTo>
                <a:close/>
              </a:path>
            </a:pathLst>
          </a:cu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297194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_Two Column-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9792B7-65B3-A8E0-6011-DDC2A04AF217}"/>
              </a:ext>
            </a:extLst>
          </p:cNvPr>
          <p:cNvGraphicFramePr>
            <a:graphicFrameLocks noChangeAspect="1"/>
          </p:cNvGraphicFramePr>
          <p:nvPr userDrawn="1">
            <p:custDataLst>
              <p:tags r:id="rId1"/>
            </p:custDataLst>
            <p:extLst>
              <p:ext uri="{D42A27DB-BD31-4B8C-83A1-F6EECF244321}">
                <p14:modId xmlns:p14="http://schemas.microsoft.com/office/powerpoint/2010/main" val="6345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049792B7-65B3-A8E0-6011-DDC2A04AF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a:defRPr sz="32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Table of contents or Agenda</a:t>
            </a:r>
          </a:p>
        </p:txBody>
      </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Noto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Noto Sans"/>
              <a:ea typeface="+mn-ea"/>
              <a:cs typeface="+mn-cs"/>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3" name="Freeform: Shape 32">
            <a:extLst>
              <a:ext uri="{FF2B5EF4-FFF2-40B4-BE49-F238E27FC236}">
                <a16:creationId xmlns:a16="http://schemas.microsoft.com/office/drawing/2014/main" id="{9123A0F2-7503-B8DD-283A-DEA0EB4EB5EA}"/>
              </a:ext>
            </a:extLst>
          </p:cNvPr>
          <p:cNvSpPr/>
          <p:nvPr userDrawn="1"/>
        </p:nvSpPr>
        <p:spPr>
          <a:xfrm rot="18900000" flipH="1">
            <a:off x="-594083" y="523938"/>
            <a:ext cx="1527403" cy="2007154"/>
          </a:xfrm>
          <a:custGeom>
            <a:avLst/>
            <a:gdLst>
              <a:gd name="connsiteX0" fmla="*/ 0 w 1527403"/>
              <a:gd name="connsiteY0" fmla="*/ 0 h 2007154"/>
              <a:gd name="connsiteX1" fmla="*/ 0 w 1527403"/>
              <a:gd name="connsiteY1" fmla="*/ 1210251 h 2007154"/>
              <a:gd name="connsiteX2" fmla="*/ 796903 w 1527403"/>
              <a:gd name="connsiteY2" fmla="*/ 2007154 h 2007154"/>
              <a:gd name="connsiteX3" fmla="*/ 1457708 w 1527403"/>
              <a:gd name="connsiteY3" fmla="*/ 1655807 h 2007154"/>
              <a:gd name="connsiteX4" fmla="*/ 1527403 w 1527403"/>
              <a:gd name="connsiteY4" fmla="*/ 1527403 h 200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403" h="2007154">
                <a:moveTo>
                  <a:pt x="0" y="0"/>
                </a:moveTo>
                <a:lnTo>
                  <a:pt x="0" y="1210251"/>
                </a:lnTo>
                <a:cubicBezTo>
                  <a:pt x="0" y="1650368"/>
                  <a:pt x="356786" y="2007154"/>
                  <a:pt x="796903" y="2007154"/>
                </a:cubicBezTo>
                <a:cubicBezTo>
                  <a:pt x="1071976" y="2007154"/>
                  <a:pt x="1314498" y="1867785"/>
                  <a:pt x="1457708" y="1655807"/>
                </a:cubicBezTo>
                <a:lnTo>
                  <a:pt x="1527403" y="152740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32" name="Freeform: Shape 31">
            <a:extLst>
              <a:ext uri="{FF2B5EF4-FFF2-40B4-BE49-F238E27FC236}">
                <a16:creationId xmlns:a16="http://schemas.microsoft.com/office/drawing/2014/main" id="{301576D0-87DC-3682-FFCD-2F2E6A1F2A94}"/>
              </a:ext>
            </a:extLst>
          </p:cNvPr>
          <p:cNvSpPr/>
          <p:nvPr userDrawn="1"/>
        </p:nvSpPr>
        <p:spPr>
          <a:xfrm rot="18900000" flipH="1">
            <a:off x="142114" y="2067490"/>
            <a:ext cx="592131" cy="1831489"/>
          </a:xfrm>
          <a:custGeom>
            <a:avLst/>
            <a:gdLst>
              <a:gd name="connsiteX0" fmla="*/ 0 w 592131"/>
              <a:gd name="connsiteY0" fmla="*/ 0 h 1831489"/>
              <a:gd name="connsiteX1" fmla="*/ 0 w 592131"/>
              <a:gd name="connsiteY1" fmla="*/ 1535422 h 1831489"/>
              <a:gd name="connsiteX2" fmla="*/ 296066 w 592131"/>
              <a:gd name="connsiteY2" fmla="*/ 1831488 h 1831489"/>
              <a:gd name="connsiteX3" fmla="*/ 296065 w 592131"/>
              <a:gd name="connsiteY3" fmla="*/ 1831489 h 1831489"/>
              <a:gd name="connsiteX4" fmla="*/ 592131 w 592131"/>
              <a:gd name="connsiteY4" fmla="*/ 1535423 h 1831489"/>
              <a:gd name="connsiteX5" fmla="*/ 592131 w 592131"/>
              <a:gd name="connsiteY5" fmla="*/ 592131 h 18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131" h="1831489">
                <a:moveTo>
                  <a:pt x="0" y="0"/>
                </a:moveTo>
                <a:lnTo>
                  <a:pt x="0" y="1535422"/>
                </a:lnTo>
                <a:cubicBezTo>
                  <a:pt x="0" y="1698935"/>
                  <a:pt x="132553" y="1831488"/>
                  <a:pt x="296066" y="1831488"/>
                </a:cubicBezTo>
                <a:lnTo>
                  <a:pt x="296065" y="1831489"/>
                </a:lnTo>
                <a:cubicBezTo>
                  <a:pt x="459578" y="1831489"/>
                  <a:pt x="592131" y="1698936"/>
                  <a:pt x="592131" y="1535423"/>
                </a:cubicBezTo>
                <a:lnTo>
                  <a:pt x="592131" y="59213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41" name="Freeform: Shape 40">
            <a:extLst>
              <a:ext uri="{FF2B5EF4-FFF2-40B4-BE49-F238E27FC236}">
                <a16:creationId xmlns:a16="http://schemas.microsoft.com/office/drawing/2014/main" id="{46560C56-9182-2FB8-A10A-9F4D9E9AE16F}"/>
              </a:ext>
            </a:extLst>
          </p:cNvPr>
          <p:cNvSpPr/>
          <p:nvPr userDrawn="1"/>
        </p:nvSpPr>
        <p:spPr>
          <a:xfrm rot="18900000" flipH="1">
            <a:off x="-769846" y="488813"/>
            <a:ext cx="2386628" cy="2423999"/>
          </a:xfrm>
          <a:custGeom>
            <a:avLst/>
            <a:gdLst>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6" fmla="*/ 381533 w 2386628"/>
              <a:gd name="connsiteY6" fmla="*/ 91440 h 2714092"/>
              <a:gd name="connsiteX0" fmla="*/ 290093 w 2386628"/>
              <a:gd name="connsiteY0" fmla="*/ 0 h 2714092"/>
              <a:gd name="connsiteX1" fmla="*/ 0 w 2386628"/>
              <a:gd name="connsiteY1" fmla="*/ 290093 h 2714092"/>
              <a:gd name="connsiteX2" fmla="*/ 0 w 2386628"/>
              <a:gd name="connsiteY2" fmla="*/ 1423811 h 2714092"/>
              <a:gd name="connsiteX3" fmla="*/ 1290281 w 2386628"/>
              <a:gd name="connsiteY3" fmla="*/ 2714092 h 2714092"/>
              <a:gd name="connsiteX4" fmla="*/ 2360202 w 2386628"/>
              <a:gd name="connsiteY4" fmla="*/ 2145220 h 2714092"/>
              <a:gd name="connsiteX5" fmla="*/ 2386628 w 2386628"/>
              <a:gd name="connsiteY5" fmla="*/ 2096534 h 2714092"/>
              <a:gd name="connsiteX0" fmla="*/ 0 w 2386628"/>
              <a:gd name="connsiteY0" fmla="*/ 0 h 2423999"/>
              <a:gd name="connsiteX1" fmla="*/ 0 w 2386628"/>
              <a:gd name="connsiteY1" fmla="*/ 1133718 h 2423999"/>
              <a:gd name="connsiteX2" fmla="*/ 1290281 w 2386628"/>
              <a:gd name="connsiteY2" fmla="*/ 2423999 h 2423999"/>
              <a:gd name="connsiteX3" fmla="*/ 2360202 w 2386628"/>
              <a:gd name="connsiteY3" fmla="*/ 1855127 h 2423999"/>
              <a:gd name="connsiteX4" fmla="*/ 2386628 w 2386628"/>
              <a:gd name="connsiteY4" fmla="*/ 1806441 h 242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628" h="2423999">
                <a:moveTo>
                  <a:pt x="0" y="0"/>
                </a:moveTo>
                <a:lnTo>
                  <a:pt x="0" y="1133718"/>
                </a:lnTo>
                <a:cubicBezTo>
                  <a:pt x="0" y="1846321"/>
                  <a:pt x="577678" y="2423999"/>
                  <a:pt x="1290281" y="2423999"/>
                </a:cubicBezTo>
                <a:cubicBezTo>
                  <a:pt x="1735658" y="2423999"/>
                  <a:pt x="2128330" y="2198344"/>
                  <a:pt x="2360202" y="1855127"/>
                </a:cubicBezTo>
                <a:lnTo>
                  <a:pt x="2386628" y="180644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Content Placeholder 2">
            <a:extLst>
              <a:ext uri="{FF2B5EF4-FFF2-40B4-BE49-F238E27FC236}">
                <a16:creationId xmlns:a16="http://schemas.microsoft.com/office/drawing/2014/main" id="{84E2E184-492C-929D-E003-357173179E17}"/>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
        <p:nvSpPr>
          <p:cNvPr id="4" name="Content Placeholder 2">
            <a:extLst>
              <a:ext uri="{FF2B5EF4-FFF2-40B4-BE49-F238E27FC236}">
                <a16:creationId xmlns:a16="http://schemas.microsoft.com/office/drawing/2014/main" id="{3FA0240A-CFE6-FB00-2FDA-AC356B39775C}"/>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tx1"/>
              </a:buClr>
              <a:buFont typeface="Arial" panose="020B0604020202020204" pitchFamily="34" charset="0"/>
              <a:buChar char="•"/>
              <a:defRPr sz="1800">
                <a:solidFill>
                  <a:schemeClr val="tx1"/>
                </a:solidFill>
                <a:latin typeface="+mj-lt"/>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latin typeface="+mj-lt"/>
              </a:defRPr>
            </a:lvl2pPr>
            <a:lvl3pPr marL="548640" indent="-182880">
              <a:lnSpc>
                <a:spcPct val="100000"/>
              </a:lnSpc>
              <a:spcBef>
                <a:spcPts val="800"/>
              </a:spcBef>
              <a:buClrTx/>
              <a:buFont typeface="Arial" panose="020B0604020202020204" pitchFamily="34" charset="0"/>
              <a:buChar char="›"/>
              <a:defRPr sz="1600">
                <a:solidFill>
                  <a:schemeClr val="tx1"/>
                </a:solidFill>
                <a:latin typeface="+mj-lt"/>
              </a:defRPr>
            </a:lvl3pPr>
            <a:lvl4pPr marL="731520" indent="-182880">
              <a:lnSpc>
                <a:spcPct val="100000"/>
              </a:lnSpc>
              <a:spcBef>
                <a:spcPts val="800"/>
              </a:spcBef>
              <a:buClrTx/>
              <a:buFont typeface="Arial" panose="020B0604020202020204" pitchFamily="34" charset="0"/>
              <a:buChar char="»"/>
              <a:defRPr sz="1600">
                <a:solidFill>
                  <a:schemeClr val="tx1"/>
                </a:solidFill>
                <a:latin typeface="+mj-lt"/>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latin typeface="+mj-lt"/>
              </a:defRPr>
            </a:lvl5pPr>
          </a:lstStyle>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a:p>
            <a:pPr lvl="0"/>
            <a:r>
              <a:rPr lang="en-US"/>
              <a:t>Noto Sans 18pt bullet level 1</a:t>
            </a:r>
          </a:p>
          <a:p>
            <a:pPr lvl="1"/>
            <a:r>
              <a:rPr lang="en-US"/>
              <a:t>Noto Sans 16pt bullet level 2</a:t>
            </a:r>
          </a:p>
          <a:p>
            <a:pPr lvl="2"/>
            <a:r>
              <a:rPr lang="en-US"/>
              <a:t>Noto Sans 16pt bullet level 3</a:t>
            </a:r>
          </a:p>
          <a:p>
            <a:pPr lvl="3"/>
            <a:r>
              <a:rPr lang="en-US"/>
              <a:t>Noto Sans 16pt bullet level 4</a:t>
            </a:r>
          </a:p>
          <a:p>
            <a:pPr lvl="4"/>
            <a:r>
              <a:rPr lang="en-US"/>
              <a:t>Noto Sans 16pt bullet level 5</a:t>
            </a:r>
          </a:p>
        </p:txBody>
      </p:sp>
    </p:spTree>
    <p:extLst>
      <p:ext uri="{BB962C8B-B14F-4D97-AF65-F5344CB8AC3E}">
        <p14:creationId xmlns:p14="http://schemas.microsoft.com/office/powerpoint/2010/main" val="97804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2026-01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59950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8">
            <a:extLst>
              <a:ext uri="{FF2B5EF4-FFF2-40B4-BE49-F238E27FC236}">
                <a16:creationId xmlns:a16="http://schemas.microsoft.com/office/drawing/2014/main" id="{676643F5-726A-FFCD-2BFA-CC1A4CD33F0B}"/>
              </a:ext>
            </a:extLst>
          </p:cNvPr>
          <p:cNvSpPr>
            <a:spLocks noGrp="1"/>
          </p:cNvSpPr>
          <p:nvPr>
            <p:ph type="pic" sz="quarter" idx="16" hasCustomPrompt="1"/>
          </p:nvPr>
        </p:nvSpPr>
        <p:spPr>
          <a:xfrm>
            <a:off x="0" y="0"/>
            <a:ext cx="12192000" cy="6858000"/>
          </a:xfrm>
          <a:prstGeom prst="rect">
            <a:avLst/>
          </a:prstGeom>
          <a:blipFill>
            <a:blip r:embed="rId5"/>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2" name="Title 1">
            <a:extLst>
              <a:ext uri="{FF2B5EF4-FFF2-40B4-BE49-F238E27FC236}">
                <a16:creationId xmlns:a16="http://schemas.microsoft.com/office/drawing/2014/main" id="{C0AC4D14-3967-FD0C-1A14-023CEB22AD99}"/>
              </a:ext>
            </a:extLst>
          </p:cNvPr>
          <p:cNvSpPr>
            <a:spLocks noGrp="1"/>
          </p:cNvSpPr>
          <p:nvPr>
            <p:ph type="title" hasCustomPrompt="1"/>
          </p:nvPr>
        </p:nvSpPr>
        <p:spPr bwMode="white">
          <a:xfrm>
            <a:off x="1600200" y="1777999"/>
            <a:ext cx="8991600" cy="3276600"/>
          </a:xfrm>
          <a:prstGeom prst="roundRect">
            <a:avLst>
              <a:gd name="adj" fmla="val 50000"/>
            </a:avLst>
          </a:prstGeom>
          <a:solidFill>
            <a:schemeClr val="bg1"/>
          </a:solidFill>
        </p:spPr>
        <p:txBody>
          <a:bodyPr vert="horz" anchor="ctr" anchorCtr="0"/>
          <a:lstStyle>
            <a:lvl1pPr algn="l">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Sans Light sentence case</a:t>
            </a:r>
          </a:p>
        </p:txBody>
      </p:sp>
      <p:grpSp>
        <p:nvGrpSpPr>
          <p:cNvPr id="13" name="Group 12">
            <a:extLst>
              <a:ext uri="{FF2B5EF4-FFF2-40B4-BE49-F238E27FC236}">
                <a16:creationId xmlns:a16="http://schemas.microsoft.com/office/drawing/2014/main" id="{347B9D2A-679A-E70D-9144-8C0F54653E8F}"/>
              </a:ext>
            </a:extLst>
          </p:cNvPr>
          <p:cNvGrpSpPr/>
          <p:nvPr userDrawn="1"/>
        </p:nvGrpSpPr>
        <p:grpSpPr>
          <a:xfrm>
            <a:off x="12323965" y="3876462"/>
            <a:ext cx="2089689" cy="3212677"/>
            <a:chOff x="12323965" y="3876462"/>
            <a:chExt cx="2089689" cy="3212677"/>
          </a:xfrm>
        </p:grpSpPr>
        <p:sp>
          <p:nvSpPr>
            <p:cNvPr id="14" name="Rectangle 13">
              <a:extLst>
                <a:ext uri="{FF2B5EF4-FFF2-40B4-BE49-F238E27FC236}">
                  <a16:creationId xmlns:a16="http://schemas.microsoft.com/office/drawing/2014/main" id="{CEA2640E-0E16-4C21-EE61-8EF930D666F6}"/>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Instructions to change the image follow below steps:</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1:</a:t>
              </a:r>
              <a:r>
                <a:rPr kumimoji="0" lang="en-US" sz="900" b="0" i="0" u="none" strike="noStrike" kern="1200" cap="none" spc="0" normalizeH="0" baseline="0" noProof="0">
                  <a:ln>
                    <a:noFill/>
                  </a:ln>
                  <a:solidFill>
                    <a:srgbClr val="FFFFFF"/>
                  </a:solidFill>
                  <a:effectLst/>
                  <a:uLnTx/>
                  <a:uFillTx/>
                  <a:latin typeface="Noto Sans"/>
                  <a:ea typeface="+mn-ea"/>
                  <a:cs typeface="+mn-cs"/>
                </a:rPr>
                <a:t> Please move the masked shapes from top of the image placeholder</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2:</a:t>
              </a:r>
              <a:r>
                <a:rPr kumimoji="0" lang="en-US" sz="900" b="0" i="0" u="none" strike="noStrike" kern="1200" cap="none" spc="0" normalizeH="0" baseline="0" noProof="0">
                  <a:ln>
                    <a:noFill/>
                  </a:ln>
                  <a:solidFill>
                    <a:srgbClr val="FFFFFF"/>
                  </a:solidFill>
                  <a:effectLst/>
                  <a:uLnTx/>
                  <a:uFillTx/>
                  <a:latin typeface="Noto Sans"/>
                  <a:ea typeface="+mn-ea"/>
                  <a:cs typeface="+mn-cs"/>
                </a:rPr>
                <a:t> Click on the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image icon </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3:</a:t>
              </a:r>
              <a:r>
                <a:rPr kumimoji="0" lang="en-US" sz="900" b="0" i="0" u="none" strike="noStrike" kern="1200" cap="none" spc="0" normalizeH="0" baseline="0" noProof="0">
                  <a:ln>
                    <a:noFill/>
                  </a:ln>
                  <a:solidFill>
                    <a:srgbClr val="FFFFFF"/>
                  </a:solidFill>
                  <a:effectLst/>
                  <a:uLnTx/>
                  <a:uFillTx/>
                  <a:latin typeface="Noto Sans"/>
                  <a:ea typeface="+mn-ea"/>
                  <a:cs typeface="+mn-cs"/>
                </a:rPr>
                <a:t> Select the image to be replaced and then click on Inser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4:</a:t>
              </a:r>
              <a:r>
                <a:rPr kumimoji="0" lang="en-US" sz="900" b="0" i="0" u="none" strike="noStrike" kern="1200" cap="none" spc="0" normalizeH="0" baseline="0" noProof="0">
                  <a:ln>
                    <a:noFill/>
                  </a:ln>
                  <a:solidFill>
                    <a:srgbClr val="FFFFFF"/>
                  </a:solidFill>
                  <a:effectLst/>
                  <a:uLnTx/>
                  <a:uFillTx/>
                  <a:latin typeface="Noto Sans"/>
                  <a:ea typeface="+mn-ea"/>
                  <a:cs typeface="+mn-cs"/>
                </a:rPr>
                <a:t> Once the image is replaced, Goto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Home =&gt; Rese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5:</a:t>
              </a:r>
              <a:r>
                <a:rPr kumimoji="0" lang="en-US" sz="900" b="0" i="0" u="none" strike="noStrike" kern="1200" cap="none" spc="0" normalizeH="0" baseline="0" noProof="0">
                  <a:ln>
                    <a:noFill/>
                  </a:ln>
                  <a:solidFill>
                    <a:srgbClr val="FFFFFF"/>
                  </a:solidFill>
                  <a:effectLst/>
                  <a:uLnTx/>
                  <a:uFillTx/>
                  <a:latin typeface="Noto Sans"/>
                  <a:ea typeface="+mn-ea"/>
                  <a:cs typeface="+mn-cs"/>
                </a:rPr>
                <a:t> Shape/masked  layers will be readjusted on the slide and ready to use</a:t>
              </a:r>
            </a:p>
          </p:txBody>
        </p:sp>
        <p:pic>
          <p:nvPicPr>
            <p:cNvPr id="15" name="Picture 14">
              <a:extLst>
                <a:ext uri="{FF2B5EF4-FFF2-40B4-BE49-F238E27FC236}">
                  <a16:creationId xmlns:a16="http://schemas.microsoft.com/office/drawing/2014/main" id="{0BC0CB3D-38B0-E87C-E0DC-B9F5A8316D3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6" name="Picture 15">
              <a:extLst>
                <a:ext uri="{FF2B5EF4-FFF2-40B4-BE49-F238E27FC236}">
                  <a16:creationId xmlns:a16="http://schemas.microsoft.com/office/drawing/2014/main" id="{A5001A2C-6752-AFA7-B7BC-2319DAFA955C}"/>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7" name="Group 16">
              <a:extLst>
                <a:ext uri="{FF2B5EF4-FFF2-40B4-BE49-F238E27FC236}">
                  <a16:creationId xmlns:a16="http://schemas.microsoft.com/office/drawing/2014/main" id="{00990C55-0A66-82D8-F468-B3E71C880C41}"/>
                </a:ext>
              </a:extLst>
            </p:cNvPr>
            <p:cNvGrpSpPr/>
            <p:nvPr userDrawn="1"/>
          </p:nvGrpSpPr>
          <p:grpSpPr>
            <a:xfrm>
              <a:off x="12598400" y="6054514"/>
              <a:ext cx="833967" cy="541456"/>
              <a:chOff x="12585700" y="6121400"/>
              <a:chExt cx="833967" cy="541456"/>
            </a:xfrm>
          </p:grpSpPr>
          <p:pic>
            <p:nvPicPr>
              <p:cNvPr id="18" name="Picture 2">
                <a:extLst>
                  <a:ext uri="{FF2B5EF4-FFF2-40B4-BE49-F238E27FC236}">
                    <a16:creationId xmlns:a16="http://schemas.microsoft.com/office/drawing/2014/main" id="{3AEF32A3-382C-B1AC-3AC7-C4D38D4B755A}"/>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A58B7075-DFA4-FD08-29B2-A2110BC23927}"/>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826C4374-BB8B-CA6D-9A4C-E3F74A433249}"/>
                  </a:ext>
                </a:extLst>
              </p:cNvPr>
              <p:cNvSpPr/>
              <p:nvPr userDrawn="1"/>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grpSp>
      </p:grpSp>
    </p:spTree>
    <p:extLst>
      <p:ext uri="{BB962C8B-B14F-4D97-AF65-F5344CB8AC3E}">
        <p14:creationId xmlns:p14="http://schemas.microsoft.com/office/powerpoint/2010/main" val="122167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2026-02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156307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FE17C5FF-0BB6-D8D6-AE85-A08D4A9073E9}"/>
              </a:ext>
            </a:extLst>
          </p:cNvPr>
          <p:cNvSpPr>
            <a:spLocks noGrp="1"/>
          </p:cNvSpPr>
          <p:nvPr>
            <p:ph type="pic" sz="quarter" idx="14" hasCustomPrompt="1"/>
          </p:nvPr>
        </p:nvSpPr>
        <p:spPr>
          <a:xfrm>
            <a:off x="0" y="486127"/>
            <a:ext cx="2957208" cy="5885746"/>
          </a:xfrm>
          <a:custGeom>
            <a:avLst/>
            <a:gdLst>
              <a:gd name="connsiteX0" fmla="*/ 0 w 2957208"/>
              <a:gd name="connsiteY0" fmla="*/ 0 h 5885746"/>
              <a:gd name="connsiteX1" fmla="*/ 14335 w 2957208"/>
              <a:gd name="connsiteY1" fmla="*/ 0 h 5885746"/>
              <a:gd name="connsiteX2" fmla="*/ 2957208 w 2957208"/>
              <a:gd name="connsiteY2" fmla="*/ 2942873 h 5885746"/>
              <a:gd name="connsiteX3" fmla="*/ 2957207 w 2957208"/>
              <a:gd name="connsiteY3" fmla="*/ 2942873 h 5885746"/>
              <a:gd name="connsiteX4" fmla="*/ 14334 w 2957208"/>
              <a:gd name="connsiteY4" fmla="*/ 5885746 h 5885746"/>
              <a:gd name="connsiteX5" fmla="*/ 0 w 2957208"/>
              <a:gd name="connsiteY5" fmla="*/ 5885746 h 588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7208" h="5885746">
                <a:moveTo>
                  <a:pt x="0" y="0"/>
                </a:moveTo>
                <a:lnTo>
                  <a:pt x="14335" y="0"/>
                </a:lnTo>
                <a:cubicBezTo>
                  <a:pt x="1639639" y="0"/>
                  <a:pt x="2957208" y="1317569"/>
                  <a:pt x="2957208" y="2942873"/>
                </a:cubicBezTo>
                <a:lnTo>
                  <a:pt x="2957207" y="2942873"/>
                </a:lnTo>
                <a:cubicBezTo>
                  <a:pt x="2957207" y="4568177"/>
                  <a:pt x="1639638" y="5885746"/>
                  <a:pt x="14334" y="5885746"/>
                </a:cubicBezTo>
                <a:lnTo>
                  <a:pt x="0" y="5885746"/>
                </a:ln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26" name="Freeform: Shape 25">
            <a:extLst>
              <a:ext uri="{FF2B5EF4-FFF2-40B4-BE49-F238E27FC236}">
                <a16:creationId xmlns:a16="http://schemas.microsoft.com/office/drawing/2014/main" id="{6FB998AD-8D30-E11E-F31A-9DB440E709B9}"/>
              </a:ext>
            </a:extLst>
          </p:cNvPr>
          <p:cNvSpPr/>
          <p:nvPr userDrawn="1"/>
        </p:nvSpPr>
        <p:spPr>
          <a:xfrm>
            <a:off x="10285918" y="1515906"/>
            <a:ext cx="1906082" cy="3826188"/>
          </a:xfrm>
          <a:custGeom>
            <a:avLst/>
            <a:gdLst>
              <a:gd name="connsiteX0" fmla="*/ 1906082 w 1906082"/>
              <a:gd name="connsiteY0" fmla="*/ 0 h 3826188"/>
              <a:gd name="connsiteX1" fmla="*/ 1906082 w 1906082"/>
              <a:gd name="connsiteY1" fmla="*/ 3826188 h 3826188"/>
              <a:gd name="connsiteX2" fmla="*/ 1717826 w 1906082"/>
              <a:gd name="connsiteY2" fmla="*/ 3816682 h 3826188"/>
              <a:gd name="connsiteX3" fmla="*/ 0 w 1906082"/>
              <a:gd name="connsiteY3" fmla="*/ 1913094 h 3826188"/>
              <a:gd name="connsiteX4" fmla="*/ 1717826 w 1906082"/>
              <a:gd name="connsiteY4" fmla="*/ 9506 h 3826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082" h="3826188">
                <a:moveTo>
                  <a:pt x="1906082" y="0"/>
                </a:moveTo>
                <a:lnTo>
                  <a:pt x="1906082" y="3826188"/>
                </a:lnTo>
                <a:lnTo>
                  <a:pt x="1717826" y="3816682"/>
                </a:lnTo>
                <a:cubicBezTo>
                  <a:pt x="752949" y="3718694"/>
                  <a:pt x="0" y="2903825"/>
                  <a:pt x="0" y="1913094"/>
                </a:cubicBezTo>
                <a:cubicBezTo>
                  <a:pt x="0" y="922364"/>
                  <a:pt x="752949" y="107495"/>
                  <a:pt x="1717826" y="950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8" name="Graphic 27">
            <a:extLst>
              <a:ext uri="{FF2B5EF4-FFF2-40B4-BE49-F238E27FC236}">
                <a16:creationId xmlns:a16="http://schemas.microsoft.com/office/drawing/2014/main" id="{4698F2DD-4D97-8D7A-5BEC-E5396E6DFD1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9360095" y="611533"/>
            <a:ext cx="2212298" cy="399963"/>
          </a:xfrm>
          <a:prstGeom prst="rect">
            <a:avLst/>
          </a:prstGeom>
        </p:spPr>
      </p:pic>
      <p:sp>
        <p:nvSpPr>
          <p:cNvPr id="31" name="Subtitle 2">
            <a:extLst>
              <a:ext uri="{FF2B5EF4-FFF2-40B4-BE49-F238E27FC236}">
                <a16:creationId xmlns:a16="http://schemas.microsoft.com/office/drawing/2014/main" id="{584AC4A0-A7FD-554D-C5E0-580CC43AD9E3}"/>
              </a:ext>
            </a:extLst>
          </p:cNvPr>
          <p:cNvSpPr>
            <a:spLocks noGrp="1"/>
          </p:cNvSpPr>
          <p:nvPr>
            <p:ph type="subTitle" idx="1" hasCustomPrompt="1"/>
          </p:nvPr>
        </p:nvSpPr>
        <p:spPr>
          <a:xfrm>
            <a:off x="3467100" y="22574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40" name="Title 1">
            <a:extLst>
              <a:ext uri="{FF2B5EF4-FFF2-40B4-BE49-F238E27FC236}">
                <a16:creationId xmlns:a16="http://schemas.microsoft.com/office/drawing/2014/main" id="{555A42D2-18FC-DFFB-5DB3-DF592BF30F91}"/>
              </a:ext>
            </a:extLst>
          </p:cNvPr>
          <p:cNvSpPr>
            <a:spLocks noGrp="1"/>
          </p:cNvSpPr>
          <p:nvPr>
            <p:ph type="title" hasCustomPrompt="1"/>
          </p:nvPr>
        </p:nvSpPr>
        <p:spPr bwMode="white">
          <a:xfrm>
            <a:off x="3467100" y="2844800"/>
            <a:ext cx="6324600" cy="2171700"/>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42977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2026-03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237499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4F340A53-0350-F53E-7D51-923BC4C86D0A}"/>
              </a:ext>
            </a:extLst>
          </p:cNvPr>
          <p:cNvSpPr>
            <a:spLocks noGrp="1"/>
          </p:cNvSpPr>
          <p:nvPr>
            <p:ph type="pic" sz="quarter" idx="14" hasCustomPrompt="1"/>
          </p:nvPr>
        </p:nvSpPr>
        <p:spPr>
          <a:xfrm>
            <a:off x="7301581" y="0"/>
            <a:ext cx="4890421" cy="4391066"/>
          </a:xfrm>
          <a:custGeom>
            <a:avLst/>
            <a:gdLst>
              <a:gd name="connsiteX0" fmla="*/ 1083662 w 4890421"/>
              <a:gd name="connsiteY0" fmla="*/ 0 h 4391066"/>
              <a:gd name="connsiteX1" fmla="*/ 4890421 w 4890421"/>
              <a:gd name="connsiteY1" fmla="*/ 0 h 4391066"/>
              <a:gd name="connsiteX2" fmla="*/ 4890421 w 4890421"/>
              <a:gd name="connsiteY2" fmla="*/ 2808049 h 4391066"/>
              <a:gd name="connsiteX3" fmla="*/ 3992391 w 4890421"/>
              <a:gd name="connsiteY3" fmla="*/ 3706080 h 4391066"/>
              <a:gd name="connsiteX4" fmla="*/ 684986 w 4890421"/>
              <a:gd name="connsiteY4" fmla="*/ 3706080 h 4391066"/>
              <a:gd name="connsiteX5" fmla="*/ 684986 w 4890421"/>
              <a:gd name="connsiteY5" fmla="*/ 398676 h 439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0421" h="4391066">
                <a:moveTo>
                  <a:pt x="1083662" y="0"/>
                </a:moveTo>
                <a:lnTo>
                  <a:pt x="4890421" y="0"/>
                </a:lnTo>
                <a:lnTo>
                  <a:pt x="4890421" y="2808049"/>
                </a:lnTo>
                <a:lnTo>
                  <a:pt x="3992391" y="3706080"/>
                </a:lnTo>
                <a:cubicBezTo>
                  <a:pt x="3079076" y="4619395"/>
                  <a:pt x="1598301" y="4619395"/>
                  <a:pt x="684986" y="3706080"/>
                </a:cubicBezTo>
                <a:cubicBezTo>
                  <a:pt x="-228328" y="2792765"/>
                  <a:pt x="-228328" y="1311990"/>
                  <a:pt x="684986" y="398676"/>
                </a:cubicBez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10" name="Freeform: Shape 9">
            <a:extLst>
              <a:ext uri="{FF2B5EF4-FFF2-40B4-BE49-F238E27FC236}">
                <a16:creationId xmlns:a16="http://schemas.microsoft.com/office/drawing/2014/main" id="{6B9159B2-9CF1-9E05-5FA7-5B81E7F195E7}"/>
              </a:ext>
            </a:extLst>
          </p:cNvPr>
          <p:cNvSpPr/>
          <p:nvPr userDrawn="1"/>
        </p:nvSpPr>
        <p:spPr>
          <a:xfrm>
            <a:off x="486075" y="5000653"/>
            <a:ext cx="4077476" cy="1857348"/>
          </a:xfrm>
          <a:custGeom>
            <a:avLst/>
            <a:gdLst>
              <a:gd name="connsiteX0" fmla="*/ 2507608 w 4077476"/>
              <a:gd name="connsiteY0" fmla="*/ 0 h 1857348"/>
              <a:gd name="connsiteX1" fmla="*/ 3617672 w 4077476"/>
              <a:gd name="connsiteY1" fmla="*/ 459804 h 1857348"/>
              <a:gd name="connsiteX2" fmla="*/ 4077476 w 4077476"/>
              <a:gd name="connsiteY2" fmla="*/ 1569868 h 1857348"/>
              <a:gd name="connsiteX3" fmla="*/ 4049922 w 4077476"/>
              <a:gd name="connsiteY3" fmla="*/ 1857348 h 1857348"/>
              <a:gd name="connsiteX4" fmla="*/ 0 w 4077476"/>
              <a:gd name="connsiteY4" fmla="*/ 1857348 h 1857348"/>
              <a:gd name="connsiteX5" fmla="*/ 1397545 w 4077476"/>
              <a:gd name="connsiteY5" fmla="*/ 459804 h 1857348"/>
              <a:gd name="connsiteX6" fmla="*/ 2507608 w 4077476"/>
              <a:gd name="connsiteY6" fmla="*/ 0 h 185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7476" h="1857348">
                <a:moveTo>
                  <a:pt x="2507608" y="0"/>
                </a:moveTo>
                <a:cubicBezTo>
                  <a:pt x="2909372" y="0"/>
                  <a:pt x="3311136" y="153268"/>
                  <a:pt x="3617672" y="459804"/>
                </a:cubicBezTo>
                <a:cubicBezTo>
                  <a:pt x="3924208" y="766340"/>
                  <a:pt x="4077476" y="1168104"/>
                  <a:pt x="4077476" y="1569868"/>
                </a:cubicBezTo>
                <a:lnTo>
                  <a:pt x="4049922" y="1857348"/>
                </a:lnTo>
                <a:lnTo>
                  <a:pt x="0" y="1857348"/>
                </a:lnTo>
                <a:lnTo>
                  <a:pt x="1397545" y="459804"/>
                </a:lnTo>
                <a:cubicBezTo>
                  <a:pt x="1704080" y="153268"/>
                  <a:pt x="2105844" y="0"/>
                  <a:pt x="250760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 name="Subtitle 2">
            <a:extLst>
              <a:ext uri="{FF2B5EF4-FFF2-40B4-BE49-F238E27FC236}">
                <a16:creationId xmlns:a16="http://schemas.microsoft.com/office/drawing/2014/main" id="{C31F9952-3096-5EB4-195E-E111EF3DA746}"/>
              </a:ext>
            </a:extLst>
          </p:cNvPr>
          <p:cNvSpPr>
            <a:spLocks noGrp="1"/>
          </p:cNvSpPr>
          <p:nvPr>
            <p:ph type="subTitle" idx="1" hasCustomPrompt="1"/>
          </p:nvPr>
        </p:nvSpPr>
        <p:spPr>
          <a:xfrm>
            <a:off x="560269" y="809604"/>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5" name="Title 1">
            <a:extLst>
              <a:ext uri="{FF2B5EF4-FFF2-40B4-BE49-F238E27FC236}">
                <a16:creationId xmlns:a16="http://schemas.microsoft.com/office/drawing/2014/main" id="{B5279600-C9F1-CF2F-5C8E-97EEA785D158}"/>
              </a:ext>
            </a:extLst>
          </p:cNvPr>
          <p:cNvSpPr>
            <a:spLocks noGrp="1"/>
          </p:cNvSpPr>
          <p:nvPr>
            <p:ph type="title" hasCustomPrompt="1"/>
          </p:nvPr>
        </p:nvSpPr>
        <p:spPr bwMode="white">
          <a:xfrm>
            <a:off x="560269" y="1308100"/>
            <a:ext cx="6324600" cy="2171700"/>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pic>
        <p:nvPicPr>
          <p:cNvPr id="6" name="Graphic 5">
            <a:extLst>
              <a:ext uri="{FF2B5EF4-FFF2-40B4-BE49-F238E27FC236}">
                <a16:creationId xmlns:a16="http://schemas.microsoft.com/office/drawing/2014/main" id="{EC8615EA-924C-6B9D-68EB-D8BBB5ECB831}"/>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9360095" y="5843933"/>
            <a:ext cx="2212298" cy="399963"/>
          </a:xfrm>
          <a:prstGeom prst="rect">
            <a:avLst/>
          </a:prstGeom>
        </p:spPr>
      </p:pic>
    </p:spTree>
    <p:extLst>
      <p:ext uri="{BB962C8B-B14F-4D97-AF65-F5344CB8AC3E}">
        <p14:creationId xmlns:p14="http://schemas.microsoft.com/office/powerpoint/2010/main" val="80206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2026-04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71741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0054152A-0AC2-B35F-B3CA-D6B593C009A8}"/>
              </a:ext>
            </a:extLst>
          </p:cNvPr>
          <p:cNvSpPr>
            <a:spLocks noGrp="1"/>
          </p:cNvSpPr>
          <p:nvPr>
            <p:ph type="pic" sz="quarter" idx="14" hasCustomPrompt="1"/>
          </p:nvPr>
        </p:nvSpPr>
        <p:spPr>
          <a:xfrm>
            <a:off x="622300" y="673100"/>
            <a:ext cx="10909300" cy="2463800"/>
          </a:xfrm>
          <a:custGeom>
            <a:avLst/>
            <a:gdLst>
              <a:gd name="connsiteX0" fmla="*/ 1231900 w 10909300"/>
              <a:gd name="connsiteY0" fmla="*/ 0 h 2463800"/>
              <a:gd name="connsiteX1" fmla="*/ 9677400 w 10909300"/>
              <a:gd name="connsiteY1" fmla="*/ 0 h 2463800"/>
              <a:gd name="connsiteX2" fmla="*/ 10909300 w 10909300"/>
              <a:gd name="connsiteY2" fmla="*/ 1231900 h 2463800"/>
              <a:gd name="connsiteX3" fmla="*/ 9677400 w 10909300"/>
              <a:gd name="connsiteY3" fmla="*/ 2463800 h 2463800"/>
              <a:gd name="connsiteX4" fmla="*/ 1231900 w 10909300"/>
              <a:gd name="connsiteY4" fmla="*/ 2463800 h 2463800"/>
              <a:gd name="connsiteX5" fmla="*/ 0 w 10909300"/>
              <a:gd name="connsiteY5" fmla="*/ 1231900 h 2463800"/>
              <a:gd name="connsiteX6" fmla="*/ 1231900 w 10909300"/>
              <a:gd name="connsiteY6"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09300" h="2463800">
                <a:moveTo>
                  <a:pt x="1231900" y="0"/>
                </a:moveTo>
                <a:lnTo>
                  <a:pt x="9677400" y="0"/>
                </a:lnTo>
                <a:cubicBezTo>
                  <a:pt x="10357760" y="0"/>
                  <a:pt x="10909300" y="551540"/>
                  <a:pt x="10909300" y="1231900"/>
                </a:cubicBezTo>
                <a:cubicBezTo>
                  <a:pt x="10909300" y="1912260"/>
                  <a:pt x="10357760" y="2463800"/>
                  <a:pt x="9677400" y="2463800"/>
                </a:cubicBezTo>
                <a:lnTo>
                  <a:pt x="1231900" y="2463800"/>
                </a:lnTo>
                <a:cubicBezTo>
                  <a:pt x="551540" y="2463800"/>
                  <a:pt x="0" y="1912260"/>
                  <a:pt x="0" y="1231900"/>
                </a:cubicBezTo>
                <a:cubicBezTo>
                  <a:pt x="0" y="551540"/>
                  <a:pt x="551540" y="0"/>
                  <a:pt x="1231900" y="0"/>
                </a:cubicBezTo>
                <a:close/>
              </a:path>
            </a:pathLst>
          </a:custGeom>
          <a:blipFill>
            <a:blip r:embed="rId5"/>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pic>
        <p:nvPicPr>
          <p:cNvPr id="28" name="Graphic 27">
            <a:extLst>
              <a:ext uri="{FF2B5EF4-FFF2-40B4-BE49-F238E27FC236}">
                <a16:creationId xmlns:a16="http://schemas.microsoft.com/office/drawing/2014/main" id="{4698F2DD-4D97-8D7A-5BEC-E5396E6DFD14}"/>
              </a:ext>
            </a:extLst>
          </p:cNvPr>
          <p:cNvPicPr>
            <a:picLocks/>
          </p:cNvPicPr>
          <p:nvPr userDrawn="1"/>
        </p:nvPicPr>
        <p:blipFill>
          <a:blip>
            <a:extLst>
              <a:ext uri="{96DAC541-7B7A-43D3-8B79-37D633B846F1}">
                <asvg:svgBlip xmlns:asvg="http://schemas.microsoft.com/office/drawing/2016/SVG/main" r:embed="rId6"/>
              </a:ext>
            </a:extLst>
          </a:blip>
          <a:stretch>
            <a:fillRect/>
          </a:stretch>
        </p:blipFill>
        <p:spPr>
          <a:xfrm>
            <a:off x="9360095" y="5843933"/>
            <a:ext cx="2212298" cy="399963"/>
          </a:xfrm>
          <a:prstGeom prst="rect">
            <a:avLst/>
          </a:prstGeom>
        </p:spPr>
      </p:pic>
      <p:sp>
        <p:nvSpPr>
          <p:cNvPr id="40" name="Title 1">
            <a:extLst>
              <a:ext uri="{FF2B5EF4-FFF2-40B4-BE49-F238E27FC236}">
                <a16:creationId xmlns:a16="http://schemas.microsoft.com/office/drawing/2014/main" id="{555A42D2-18FC-DFFB-5DB3-DF592BF30F91}"/>
              </a:ext>
            </a:extLst>
          </p:cNvPr>
          <p:cNvSpPr>
            <a:spLocks noGrp="1"/>
          </p:cNvSpPr>
          <p:nvPr>
            <p:ph type="title" hasCustomPrompt="1"/>
          </p:nvPr>
        </p:nvSpPr>
        <p:spPr bwMode="white">
          <a:xfrm>
            <a:off x="1703173" y="3657600"/>
            <a:ext cx="8785654" cy="1446550"/>
          </a:xfrm>
          <a:prstGeom prst="rect">
            <a:avLst/>
          </a:prstGeom>
        </p:spPr>
        <p:txBody>
          <a:bodyPr vert="horz" anchor="t" anchorCtr="0">
            <a:noAutofit/>
          </a:bodyPr>
          <a:lstStyle>
            <a:lvl1pPr algn="l">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a:t>
            </a:r>
            <a:br>
              <a:rPr lang="en-US"/>
            </a:br>
            <a:r>
              <a:rPr lang="en-US"/>
              <a:t>Sans Light sentence case</a:t>
            </a:r>
          </a:p>
        </p:txBody>
      </p:sp>
    </p:spTree>
    <p:extLst>
      <p:ext uri="{BB962C8B-B14F-4D97-AF65-F5344CB8AC3E}">
        <p14:creationId xmlns:p14="http://schemas.microsoft.com/office/powerpoint/2010/main" val="262183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2026-05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7066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C64657C8-34AC-81B6-5C51-BB17F9686E24}"/>
              </a:ext>
            </a:extLst>
          </p:cNvPr>
          <p:cNvSpPr/>
          <p:nvPr userDrawn="1"/>
        </p:nvSpPr>
        <p:spPr>
          <a:xfrm rot="5400000">
            <a:off x="-17144" y="2760344"/>
            <a:ext cx="4114801" cy="4080511"/>
          </a:xfrm>
          <a:custGeom>
            <a:avLst/>
            <a:gdLst>
              <a:gd name="connsiteX0" fmla="*/ 0 w 4114801"/>
              <a:gd name="connsiteY0" fmla="*/ 4080511 h 4080511"/>
              <a:gd name="connsiteX1" fmla="*/ 0 w 4114801"/>
              <a:gd name="connsiteY1" fmla="*/ 2051686 h 4080511"/>
              <a:gd name="connsiteX2" fmla="*/ 2051686 w 4114801"/>
              <a:gd name="connsiteY2" fmla="*/ 0 h 4080511"/>
              <a:gd name="connsiteX3" fmla="*/ 2063115 w 4114801"/>
              <a:gd name="connsiteY3" fmla="*/ 0 h 4080511"/>
              <a:gd name="connsiteX4" fmla="*/ 4114801 w 4114801"/>
              <a:gd name="connsiteY4" fmla="*/ 2051686 h 4080511"/>
              <a:gd name="connsiteX5" fmla="*/ 4114800 w 4114801"/>
              <a:gd name="connsiteY5" fmla="*/ 4080511 h 408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801" h="4080511">
                <a:moveTo>
                  <a:pt x="0" y="4080511"/>
                </a:moveTo>
                <a:lnTo>
                  <a:pt x="0" y="2051686"/>
                </a:lnTo>
                <a:cubicBezTo>
                  <a:pt x="0" y="918571"/>
                  <a:pt x="918571" y="0"/>
                  <a:pt x="2051686" y="0"/>
                </a:cubicBezTo>
                <a:lnTo>
                  <a:pt x="2063115" y="0"/>
                </a:lnTo>
                <a:cubicBezTo>
                  <a:pt x="3196230" y="0"/>
                  <a:pt x="4114801" y="918571"/>
                  <a:pt x="4114801" y="2051686"/>
                </a:cubicBezTo>
                <a:lnTo>
                  <a:pt x="4114800" y="4080511"/>
                </a:lnTo>
                <a:close/>
              </a:path>
            </a:pathLst>
          </a:custGeom>
          <a:gradFill flip="none" rotWithShape="1">
            <a:gsLst>
              <a:gs pos="65000">
                <a:srgbClr val="140A42"/>
              </a:gs>
              <a:gs pos="0">
                <a:srgbClr val="00CCFF"/>
              </a:gs>
            </a:gsLst>
            <a:lin ang="8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23" name="Graphic 22">
            <a:extLst>
              <a:ext uri="{FF2B5EF4-FFF2-40B4-BE49-F238E27FC236}">
                <a16:creationId xmlns:a16="http://schemas.microsoft.com/office/drawing/2014/main" id="{194BBB78-5FF7-C366-70FD-3AF06FA9E09B}"/>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9360095" y="611533"/>
            <a:ext cx="2212298" cy="399963"/>
          </a:xfrm>
          <a:prstGeom prst="rect">
            <a:avLst/>
          </a:prstGeom>
        </p:spPr>
      </p:pic>
      <p:sp>
        <p:nvSpPr>
          <p:cNvPr id="25" name="Title 1">
            <a:extLst>
              <a:ext uri="{FF2B5EF4-FFF2-40B4-BE49-F238E27FC236}">
                <a16:creationId xmlns:a16="http://schemas.microsoft.com/office/drawing/2014/main" id="{5FE5ABEB-7B35-8213-C6F0-6497298925D8}"/>
              </a:ext>
            </a:extLst>
          </p:cNvPr>
          <p:cNvSpPr>
            <a:spLocks noGrp="1"/>
          </p:cNvSpPr>
          <p:nvPr userDrawn="1">
            <p:ph type="title" hasCustomPrompt="1"/>
          </p:nvPr>
        </p:nvSpPr>
        <p:spPr bwMode="white">
          <a:xfrm>
            <a:off x="6948370" y="2594609"/>
            <a:ext cx="4624024" cy="2739391"/>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Noto Sans Light sentence case</a:t>
            </a:r>
          </a:p>
        </p:txBody>
      </p:sp>
      <p:sp>
        <p:nvSpPr>
          <p:cNvPr id="13" name="Picture Placeholder 12">
            <a:extLst>
              <a:ext uri="{FF2B5EF4-FFF2-40B4-BE49-F238E27FC236}">
                <a16:creationId xmlns:a16="http://schemas.microsoft.com/office/drawing/2014/main" id="{6A254D77-8314-1D63-56AD-419C890F5396}"/>
              </a:ext>
            </a:extLst>
          </p:cNvPr>
          <p:cNvSpPr>
            <a:spLocks noGrp="1"/>
          </p:cNvSpPr>
          <p:nvPr>
            <p:ph type="pic" sz="quarter" idx="16" hasCustomPrompt="1"/>
          </p:nvPr>
        </p:nvSpPr>
        <p:spPr>
          <a:xfrm>
            <a:off x="0" y="0"/>
            <a:ext cx="6327139" cy="5552111"/>
          </a:xfrm>
          <a:custGeom>
            <a:avLst/>
            <a:gdLst>
              <a:gd name="connsiteX0" fmla="*/ 0 w 6327139"/>
              <a:gd name="connsiteY0" fmla="*/ 0 h 5552111"/>
              <a:gd name="connsiteX1" fmla="*/ 6327139 w 6327139"/>
              <a:gd name="connsiteY1" fmla="*/ 0 h 5552111"/>
              <a:gd name="connsiteX2" fmla="*/ 6327139 w 6327139"/>
              <a:gd name="connsiteY2" fmla="*/ 2377111 h 5552111"/>
              <a:gd name="connsiteX3" fmla="*/ 3152139 w 6327139"/>
              <a:gd name="connsiteY3" fmla="*/ 5552111 h 5552111"/>
              <a:gd name="connsiteX4" fmla="*/ 13723 w 6327139"/>
              <a:gd name="connsiteY4" fmla="*/ 2860632 h 5552111"/>
              <a:gd name="connsiteX5" fmla="*/ 0 w 6327139"/>
              <a:gd name="connsiteY5" fmla="*/ 2752636 h 555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7139" h="5552111">
                <a:moveTo>
                  <a:pt x="0" y="0"/>
                </a:moveTo>
                <a:lnTo>
                  <a:pt x="6327139" y="0"/>
                </a:lnTo>
                <a:lnTo>
                  <a:pt x="6327139" y="2377111"/>
                </a:lnTo>
                <a:cubicBezTo>
                  <a:pt x="6327139" y="4130615"/>
                  <a:pt x="4905643" y="5552111"/>
                  <a:pt x="3152139" y="5552111"/>
                </a:cubicBezTo>
                <a:cubicBezTo>
                  <a:pt x="1563027" y="5552111"/>
                  <a:pt x="246589" y="4384652"/>
                  <a:pt x="13723" y="2860632"/>
                </a:cubicBezTo>
                <a:lnTo>
                  <a:pt x="0" y="2752636"/>
                </a:lnTo>
                <a:close/>
              </a:path>
            </a:pathLst>
          </a:custGeom>
          <a:blipFill>
            <a:blip r:embed="rId6"/>
            <a:stretch>
              <a:fillRect/>
            </a:stretch>
          </a:blipFill>
        </p:spPr>
        <p:txBody>
          <a:bodyPr wrap="square" lIns="3566160" anchor="ctr">
            <a:noAutofit/>
          </a:bodyPr>
          <a:lstStyle>
            <a:lvl1pPr marL="0" indent="0" algn="ctr">
              <a:buNone/>
              <a:defRPr sz="1800" b="1">
                <a:solidFill>
                  <a:srgbClr val="DA291C"/>
                </a:solidFill>
              </a:defRPr>
            </a:lvl1pPr>
          </a:lstStyle>
          <a:p>
            <a:r>
              <a:rPr lang="en-US"/>
              <a:t>Click to add image</a:t>
            </a:r>
          </a:p>
        </p:txBody>
      </p:sp>
      <p:sp>
        <p:nvSpPr>
          <p:cNvPr id="9" name="Text Placeholder 8">
            <a:extLst>
              <a:ext uri="{FF2B5EF4-FFF2-40B4-BE49-F238E27FC236}">
                <a16:creationId xmlns:a16="http://schemas.microsoft.com/office/drawing/2014/main" id="{88296AAA-9AC5-C0EC-9897-4E4D0D105DAE}"/>
              </a:ext>
            </a:extLst>
          </p:cNvPr>
          <p:cNvSpPr>
            <a:spLocks noGrp="1"/>
          </p:cNvSpPr>
          <p:nvPr>
            <p:ph type="body" sz="quarter" idx="20" hasCustomPrompt="1"/>
          </p:nvPr>
        </p:nvSpPr>
        <p:spPr>
          <a:xfrm>
            <a:off x="0" y="2743200"/>
            <a:ext cx="4080512" cy="2808911"/>
          </a:xfrm>
          <a:custGeom>
            <a:avLst/>
            <a:gdLst>
              <a:gd name="connsiteX0" fmla="*/ 0 w 4080512"/>
              <a:gd name="connsiteY0" fmla="*/ 0 h 2808911"/>
              <a:gd name="connsiteX1" fmla="*/ 2028826 w 4080512"/>
              <a:gd name="connsiteY1" fmla="*/ 0 h 2808911"/>
              <a:gd name="connsiteX2" fmla="*/ 4080512 w 4080512"/>
              <a:gd name="connsiteY2" fmla="*/ 2051686 h 2808911"/>
              <a:gd name="connsiteX3" fmla="*/ 4080512 w 4080512"/>
              <a:gd name="connsiteY3" fmla="*/ 2063115 h 2808911"/>
              <a:gd name="connsiteX4" fmla="*/ 3988272 w 4080512"/>
              <a:gd name="connsiteY4" fmla="*/ 2673224 h 2808911"/>
              <a:gd name="connsiteX5" fmla="*/ 3978625 w 4080512"/>
              <a:gd name="connsiteY5" fmla="*/ 2699582 h 2808911"/>
              <a:gd name="connsiteX6" fmla="*/ 3945622 w 4080512"/>
              <a:gd name="connsiteY6" fmla="*/ 2708954 h 2808911"/>
              <a:gd name="connsiteX7" fmla="*/ 3152140 w 4080512"/>
              <a:gd name="connsiteY7" fmla="*/ 2808911 h 2808911"/>
              <a:gd name="connsiteX8" fmla="*/ 13723 w 4080512"/>
              <a:gd name="connsiteY8" fmla="*/ 117432 h 2808911"/>
              <a:gd name="connsiteX9" fmla="*/ 0 w 4080512"/>
              <a:gd name="connsiteY9" fmla="*/ 9436 h 280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0512" h="2808911">
                <a:moveTo>
                  <a:pt x="0" y="0"/>
                </a:moveTo>
                <a:lnTo>
                  <a:pt x="2028826" y="0"/>
                </a:lnTo>
                <a:cubicBezTo>
                  <a:pt x="3161941" y="0"/>
                  <a:pt x="4080513" y="918572"/>
                  <a:pt x="4080512" y="2051686"/>
                </a:cubicBezTo>
                <a:lnTo>
                  <a:pt x="4080512" y="2063115"/>
                </a:lnTo>
                <a:cubicBezTo>
                  <a:pt x="4080512" y="2275574"/>
                  <a:pt x="4048219" y="2480491"/>
                  <a:pt x="3988272" y="2673224"/>
                </a:cubicBezTo>
                <a:lnTo>
                  <a:pt x="3978625" y="2699582"/>
                </a:lnTo>
                <a:lnTo>
                  <a:pt x="3945622" y="2708954"/>
                </a:lnTo>
                <a:cubicBezTo>
                  <a:pt x="3692005" y="2774207"/>
                  <a:pt x="3426125" y="2808911"/>
                  <a:pt x="3152140" y="2808911"/>
                </a:cubicBezTo>
                <a:cubicBezTo>
                  <a:pt x="1563027" y="2808911"/>
                  <a:pt x="246589" y="1641452"/>
                  <a:pt x="13723" y="117432"/>
                </a:cubicBezTo>
                <a:lnTo>
                  <a:pt x="0" y="9436"/>
                </a:lnTo>
                <a:close/>
              </a:path>
            </a:pathLst>
          </a:custGeom>
          <a:solidFill>
            <a:srgbClr val="00CC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lvl1pPr marL="0" indent="0">
              <a:buNone/>
              <a:defRPr lang="en-US" sz="1600" dirty="0"/>
            </a:lvl1pPr>
          </a:lstStyle>
          <a:p>
            <a:pPr marL="0" lvl="0"/>
            <a:r>
              <a:rPr lang="en-US"/>
              <a:t> </a:t>
            </a:r>
          </a:p>
        </p:txBody>
      </p:sp>
      <p:grpSp>
        <p:nvGrpSpPr>
          <p:cNvPr id="12" name="Group 11">
            <a:extLst>
              <a:ext uri="{FF2B5EF4-FFF2-40B4-BE49-F238E27FC236}">
                <a16:creationId xmlns:a16="http://schemas.microsoft.com/office/drawing/2014/main" id="{13E3113A-26C0-984B-11CB-789A7AFB2ED7}"/>
              </a:ext>
            </a:extLst>
          </p:cNvPr>
          <p:cNvGrpSpPr/>
          <p:nvPr userDrawn="1"/>
        </p:nvGrpSpPr>
        <p:grpSpPr>
          <a:xfrm>
            <a:off x="12323965" y="3876462"/>
            <a:ext cx="2089689" cy="3212677"/>
            <a:chOff x="12323965" y="3876462"/>
            <a:chExt cx="2089689" cy="3212677"/>
          </a:xfrm>
        </p:grpSpPr>
        <p:sp>
          <p:nvSpPr>
            <p:cNvPr id="14" name="Rectangle 13">
              <a:extLst>
                <a:ext uri="{FF2B5EF4-FFF2-40B4-BE49-F238E27FC236}">
                  <a16:creationId xmlns:a16="http://schemas.microsoft.com/office/drawing/2014/main" id="{99302882-B07A-5399-657A-08126A085FAA}"/>
                </a:ext>
              </a:extLst>
            </p:cNvPr>
            <p:cNvSpPr/>
            <p:nvPr/>
          </p:nvSpPr>
          <p:spPr>
            <a:xfrm>
              <a:off x="12323965" y="3876462"/>
              <a:ext cx="2089689" cy="3212677"/>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Instructions to change the image follow below steps:</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1:</a:t>
              </a:r>
              <a:r>
                <a:rPr kumimoji="0" lang="en-US" sz="900" b="0" i="0" u="none" strike="noStrike" kern="1200" cap="none" spc="0" normalizeH="0" baseline="0" noProof="0">
                  <a:ln>
                    <a:noFill/>
                  </a:ln>
                  <a:solidFill>
                    <a:srgbClr val="FFFFFF"/>
                  </a:solidFill>
                  <a:effectLst/>
                  <a:uLnTx/>
                  <a:uFillTx/>
                  <a:latin typeface="Noto Sans"/>
                  <a:ea typeface="+mn-ea"/>
                  <a:cs typeface="+mn-cs"/>
                </a:rPr>
                <a:t> Please move the masked shapes from top of the image placeholder</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2:</a:t>
              </a:r>
              <a:r>
                <a:rPr kumimoji="0" lang="en-US" sz="900" b="0" i="0" u="none" strike="noStrike" kern="1200" cap="none" spc="0" normalizeH="0" baseline="0" noProof="0">
                  <a:ln>
                    <a:noFill/>
                  </a:ln>
                  <a:solidFill>
                    <a:srgbClr val="FFFFFF"/>
                  </a:solidFill>
                  <a:effectLst/>
                  <a:uLnTx/>
                  <a:uFillTx/>
                  <a:latin typeface="Noto Sans"/>
                  <a:ea typeface="+mn-ea"/>
                  <a:cs typeface="+mn-cs"/>
                </a:rPr>
                <a:t> Click on the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image icon </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3:</a:t>
              </a:r>
              <a:r>
                <a:rPr kumimoji="0" lang="en-US" sz="900" b="0" i="0" u="none" strike="noStrike" kern="1200" cap="none" spc="0" normalizeH="0" baseline="0" noProof="0">
                  <a:ln>
                    <a:noFill/>
                  </a:ln>
                  <a:solidFill>
                    <a:srgbClr val="FFFFFF"/>
                  </a:solidFill>
                  <a:effectLst/>
                  <a:uLnTx/>
                  <a:uFillTx/>
                  <a:latin typeface="Noto Sans"/>
                  <a:ea typeface="+mn-ea"/>
                  <a:cs typeface="+mn-cs"/>
                </a:rPr>
                <a:t> Select the image to be replaced and then click on Inser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4:</a:t>
              </a:r>
              <a:r>
                <a:rPr kumimoji="0" lang="en-US" sz="900" b="0" i="0" u="none" strike="noStrike" kern="1200" cap="none" spc="0" normalizeH="0" baseline="0" noProof="0">
                  <a:ln>
                    <a:noFill/>
                  </a:ln>
                  <a:solidFill>
                    <a:srgbClr val="FFFFFF"/>
                  </a:solidFill>
                  <a:effectLst/>
                  <a:uLnTx/>
                  <a:uFillTx/>
                  <a:latin typeface="Noto Sans"/>
                  <a:ea typeface="+mn-ea"/>
                  <a:cs typeface="+mn-cs"/>
                </a:rPr>
                <a:t> Once the image is replaced, Goto </a:t>
              </a:r>
              <a:br>
                <a:rPr kumimoji="0" lang="en-US" sz="900" b="0" i="0" u="none" strike="noStrike" kern="1200" cap="none" spc="0" normalizeH="0" baseline="0" noProof="0">
                  <a:ln>
                    <a:noFill/>
                  </a:ln>
                  <a:solidFill>
                    <a:srgbClr val="FFFFFF"/>
                  </a:solidFill>
                  <a:effectLst/>
                  <a:uLnTx/>
                  <a:uFillTx/>
                  <a:latin typeface="Noto Sans"/>
                  <a:ea typeface="+mn-ea"/>
                  <a:cs typeface="+mn-cs"/>
                </a:rPr>
              </a:br>
              <a:r>
                <a:rPr kumimoji="0" lang="en-US" sz="900" b="0" i="0" u="none" strike="noStrike" kern="1200" cap="none" spc="0" normalizeH="0" baseline="0" noProof="0">
                  <a:ln>
                    <a:noFill/>
                  </a:ln>
                  <a:solidFill>
                    <a:srgbClr val="FFFFFF"/>
                  </a:solidFill>
                  <a:effectLst/>
                  <a:uLnTx/>
                  <a:uFillTx/>
                  <a:latin typeface="Noto Sans"/>
                  <a:ea typeface="+mn-ea"/>
                  <a:cs typeface="+mn-cs"/>
                </a:rPr>
                <a:t>Home =&gt; Reset option</a:t>
              </a: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FFFFFF"/>
                </a:solidFill>
                <a:effectLst/>
                <a:uLnTx/>
                <a:uFillTx/>
                <a:latin typeface="Noto Sans"/>
                <a:ea typeface="+mn-ea"/>
                <a:cs typeface="+mn-cs"/>
              </a:endParaRPr>
            </a:p>
            <a:p>
              <a:pPr marL="182880" marR="0" lvl="0"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FFFFFF"/>
                  </a:solidFill>
                  <a:effectLst/>
                  <a:uLnTx/>
                  <a:uFillTx/>
                  <a:latin typeface="Noto Sans"/>
                  <a:ea typeface="+mn-ea"/>
                  <a:cs typeface="+mn-cs"/>
                </a:rPr>
                <a:t>Step 5:</a:t>
              </a:r>
              <a:r>
                <a:rPr kumimoji="0" lang="en-US" sz="900" b="0" i="0" u="none" strike="noStrike" kern="1200" cap="none" spc="0" normalizeH="0" baseline="0" noProof="0">
                  <a:ln>
                    <a:noFill/>
                  </a:ln>
                  <a:solidFill>
                    <a:srgbClr val="FFFFFF"/>
                  </a:solidFill>
                  <a:effectLst/>
                  <a:uLnTx/>
                  <a:uFillTx/>
                  <a:latin typeface="Noto Sans"/>
                  <a:ea typeface="+mn-ea"/>
                  <a:cs typeface="+mn-cs"/>
                </a:rPr>
                <a:t> Shape/masked  layers will be readjusted on the slide and ready to use</a:t>
              </a:r>
            </a:p>
          </p:txBody>
        </p:sp>
        <p:pic>
          <p:nvPicPr>
            <p:cNvPr id="15" name="Picture 14">
              <a:extLst>
                <a:ext uri="{FF2B5EF4-FFF2-40B4-BE49-F238E27FC236}">
                  <a16:creationId xmlns:a16="http://schemas.microsoft.com/office/drawing/2014/main" id="{2CC58985-0C3C-097C-1F60-A1A44B3F677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694135" y="4756344"/>
              <a:ext cx="197126" cy="174381"/>
            </a:xfrm>
            <a:prstGeom prst="rect">
              <a:avLst/>
            </a:prstGeom>
          </p:spPr>
        </p:pic>
        <p:pic>
          <p:nvPicPr>
            <p:cNvPr id="16" name="Picture 15">
              <a:extLst>
                <a:ext uri="{FF2B5EF4-FFF2-40B4-BE49-F238E27FC236}">
                  <a16:creationId xmlns:a16="http://schemas.microsoft.com/office/drawing/2014/main" id="{B04BF919-0125-F0D1-D738-4F4B0976D726}"/>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13834532" y="5786295"/>
              <a:ext cx="491067" cy="213105"/>
            </a:xfrm>
            <a:custGeom>
              <a:avLst/>
              <a:gdLst>
                <a:gd name="connsiteX0" fmla="*/ 0 w 538480"/>
                <a:gd name="connsiteY0" fmla="*/ 0 h 233680"/>
                <a:gd name="connsiteX1" fmla="*/ 538480 w 538480"/>
                <a:gd name="connsiteY1" fmla="*/ 0 h 233680"/>
                <a:gd name="connsiteX2" fmla="*/ 538480 w 538480"/>
                <a:gd name="connsiteY2" fmla="*/ 233680 h 233680"/>
                <a:gd name="connsiteX3" fmla="*/ 0 w 538480"/>
                <a:gd name="connsiteY3" fmla="*/ 233680 h 233680"/>
              </a:gdLst>
              <a:ahLst/>
              <a:cxnLst>
                <a:cxn ang="0">
                  <a:pos x="connsiteX0" y="connsiteY0"/>
                </a:cxn>
                <a:cxn ang="0">
                  <a:pos x="connsiteX1" y="connsiteY1"/>
                </a:cxn>
                <a:cxn ang="0">
                  <a:pos x="connsiteX2" y="connsiteY2"/>
                </a:cxn>
                <a:cxn ang="0">
                  <a:pos x="connsiteX3" y="connsiteY3"/>
                </a:cxn>
              </a:cxnLst>
              <a:rect l="l" t="t" r="r" b="b"/>
              <a:pathLst>
                <a:path w="538480" h="233680">
                  <a:moveTo>
                    <a:pt x="0" y="0"/>
                  </a:moveTo>
                  <a:lnTo>
                    <a:pt x="538480" y="0"/>
                  </a:lnTo>
                  <a:lnTo>
                    <a:pt x="538480" y="233680"/>
                  </a:lnTo>
                  <a:lnTo>
                    <a:pt x="0" y="233680"/>
                  </a:lnTo>
                  <a:close/>
                </a:path>
              </a:pathLst>
            </a:custGeom>
          </p:spPr>
        </p:pic>
        <p:grpSp>
          <p:nvGrpSpPr>
            <p:cNvPr id="17" name="Group 16">
              <a:extLst>
                <a:ext uri="{FF2B5EF4-FFF2-40B4-BE49-F238E27FC236}">
                  <a16:creationId xmlns:a16="http://schemas.microsoft.com/office/drawing/2014/main" id="{3D3F27F7-BE73-4095-86A6-D508C1A94F63}"/>
                </a:ext>
              </a:extLst>
            </p:cNvPr>
            <p:cNvGrpSpPr/>
            <p:nvPr userDrawn="1"/>
          </p:nvGrpSpPr>
          <p:grpSpPr>
            <a:xfrm>
              <a:off x="12598400" y="6054514"/>
              <a:ext cx="833967" cy="541456"/>
              <a:chOff x="12585700" y="6121400"/>
              <a:chExt cx="833967" cy="541456"/>
            </a:xfrm>
          </p:grpSpPr>
          <p:pic>
            <p:nvPicPr>
              <p:cNvPr id="18" name="Picture 2">
                <a:extLst>
                  <a:ext uri="{FF2B5EF4-FFF2-40B4-BE49-F238E27FC236}">
                    <a16:creationId xmlns:a16="http://schemas.microsoft.com/office/drawing/2014/main" id="{D15BDCEA-34E9-D41E-A765-98D13F56C2E5}"/>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a:fillRect/>
              </a:stretch>
            </p:blipFill>
            <p:spPr bwMode="auto">
              <a:xfrm>
                <a:off x="12585700" y="6121400"/>
                <a:ext cx="833967" cy="54145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49A0D4E4-097B-6261-3752-47CD008405BE}"/>
                  </a:ext>
                </a:extLst>
              </p:cNvPr>
              <p:cNvSpPr/>
              <p:nvPr/>
            </p:nvSpPr>
            <p:spPr>
              <a:xfrm>
                <a:off x="12699270" y="6154738"/>
                <a:ext cx="226156" cy="91385"/>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4A461E1A-178C-C568-796D-F6D8764F4046}"/>
                  </a:ext>
                </a:extLst>
              </p:cNvPr>
              <p:cNvSpPr/>
              <p:nvPr userDrawn="1"/>
            </p:nvSpPr>
            <p:spPr>
              <a:xfrm>
                <a:off x="13179219" y="6412700"/>
                <a:ext cx="147839" cy="102400"/>
              </a:xfrm>
              <a:prstGeom prst="rect">
                <a:avLst/>
              </a:prstGeom>
              <a:noFill/>
              <a:ln>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grpSp>
      </p:grpSp>
    </p:spTree>
    <p:extLst>
      <p:ext uri="{BB962C8B-B14F-4D97-AF65-F5344CB8AC3E}">
        <p14:creationId xmlns:p14="http://schemas.microsoft.com/office/powerpoint/2010/main" val="17085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2026-06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2645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0309296F-DACA-9046-F9F0-2407339F5BBF}"/>
              </a:ext>
            </a:extLst>
          </p:cNvPr>
          <p:cNvSpPr/>
          <p:nvPr userDrawn="1"/>
        </p:nvSpPr>
        <p:spPr>
          <a:xfrm>
            <a:off x="0" y="241300"/>
            <a:ext cx="11861800" cy="6362700"/>
          </a:xfrm>
          <a:custGeom>
            <a:avLst/>
            <a:gdLst>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 name="connsiteX6" fmla="*/ 91440 w 11861800"/>
              <a:gd name="connsiteY6" fmla="*/ 91440 h 6362700"/>
              <a:gd name="connsiteX0" fmla="*/ 0 w 11861800"/>
              <a:gd name="connsiteY0" fmla="*/ 0 h 6362700"/>
              <a:gd name="connsiteX1" fmla="*/ 11042602 w 11861800"/>
              <a:gd name="connsiteY1" fmla="*/ 0 h 6362700"/>
              <a:gd name="connsiteX2" fmla="*/ 11861800 w 11861800"/>
              <a:gd name="connsiteY2" fmla="*/ 819198 h 6362700"/>
              <a:gd name="connsiteX3" fmla="*/ 11861800 w 11861800"/>
              <a:gd name="connsiteY3" fmla="*/ 5543502 h 6362700"/>
              <a:gd name="connsiteX4" fmla="*/ 11042602 w 11861800"/>
              <a:gd name="connsiteY4" fmla="*/ 6362700 h 6362700"/>
              <a:gd name="connsiteX5" fmla="*/ 0 w 11861800"/>
              <a:gd name="connsiteY5" fmla="*/ 6362700 h 636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61800" h="6362700">
                <a:moveTo>
                  <a:pt x="0" y="0"/>
                </a:moveTo>
                <a:lnTo>
                  <a:pt x="11042602" y="0"/>
                </a:lnTo>
                <a:cubicBezTo>
                  <a:pt x="11495033" y="0"/>
                  <a:pt x="11861800" y="366767"/>
                  <a:pt x="11861800" y="819198"/>
                </a:cubicBezTo>
                <a:lnTo>
                  <a:pt x="11861800" y="5543502"/>
                </a:lnTo>
                <a:cubicBezTo>
                  <a:pt x="11861800" y="5995933"/>
                  <a:pt x="11495033" y="6362700"/>
                  <a:pt x="11042602" y="6362700"/>
                </a:cubicBezTo>
                <a:lnTo>
                  <a:pt x="0" y="636270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3" name="Freeform: Shape 22">
            <a:extLst>
              <a:ext uri="{FF2B5EF4-FFF2-40B4-BE49-F238E27FC236}">
                <a16:creationId xmlns:a16="http://schemas.microsoft.com/office/drawing/2014/main" id="{008C8038-FA73-08C5-C7EC-459DEC5181D5}"/>
              </a:ext>
            </a:extLst>
          </p:cNvPr>
          <p:cNvSpPr/>
          <p:nvPr userDrawn="1"/>
        </p:nvSpPr>
        <p:spPr>
          <a:xfrm rot="2700000">
            <a:off x="9238214" y="-735198"/>
            <a:ext cx="2460591" cy="4778211"/>
          </a:xfrm>
          <a:custGeom>
            <a:avLst/>
            <a:gdLst>
              <a:gd name="connsiteX0" fmla="*/ 0 w 2460591"/>
              <a:gd name="connsiteY0" fmla="*/ 1280424 h 4778211"/>
              <a:gd name="connsiteX1" fmla="*/ 1280424 w 2460591"/>
              <a:gd name="connsiteY1" fmla="*/ 0 h 4778211"/>
              <a:gd name="connsiteX2" fmla="*/ 2460591 w 2460591"/>
              <a:gd name="connsiteY2" fmla="*/ 1180167 h 4778211"/>
              <a:gd name="connsiteX3" fmla="*/ 2460591 w 2460591"/>
              <a:gd name="connsiteY3" fmla="*/ 3547915 h 4778211"/>
              <a:gd name="connsiteX4" fmla="*/ 1230295 w 2460591"/>
              <a:gd name="connsiteY4" fmla="*/ 4778211 h 4778211"/>
              <a:gd name="connsiteX5" fmla="*/ 1230296 w 2460591"/>
              <a:gd name="connsiteY5" fmla="*/ 4778210 h 4778211"/>
              <a:gd name="connsiteX6" fmla="*/ 0 w 2460591"/>
              <a:gd name="connsiteY6" fmla="*/ 3547914 h 477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0591" h="4778211">
                <a:moveTo>
                  <a:pt x="0" y="1280424"/>
                </a:moveTo>
                <a:lnTo>
                  <a:pt x="1280424" y="0"/>
                </a:lnTo>
                <a:lnTo>
                  <a:pt x="2460591" y="1180167"/>
                </a:lnTo>
                <a:lnTo>
                  <a:pt x="2460591" y="3547915"/>
                </a:lnTo>
                <a:cubicBezTo>
                  <a:pt x="2460591" y="4227389"/>
                  <a:pt x="1909769" y="4778211"/>
                  <a:pt x="1230295" y="4778211"/>
                </a:cubicBezTo>
                <a:lnTo>
                  <a:pt x="1230296" y="4778210"/>
                </a:lnTo>
                <a:cubicBezTo>
                  <a:pt x="550822" y="4778210"/>
                  <a:pt x="0" y="4227388"/>
                  <a:pt x="0" y="354791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7" name="Rectangle: Rounded Corners 6">
            <a:extLst>
              <a:ext uri="{FF2B5EF4-FFF2-40B4-BE49-F238E27FC236}">
                <a16:creationId xmlns:a16="http://schemas.microsoft.com/office/drawing/2014/main" id="{0A6F5794-85A7-17A2-FFC2-4D48EE025E27}"/>
              </a:ext>
            </a:extLst>
          </p:cNvPr>
          <p:cNvSpPr/>
          <p:nvPr userDrawn="1"/>
        </p:nvSpPr>
        <p:spPr>
          <a:xfrm rot="2700000">
            <a:off x="9018425" y="1722637"/>
            <a:ext cx="1400920" cy="3088994"/>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21" name="Freeform: Shape 20">
            <a:extLst>
              <a:ext uri="{FF2B5EF4-FFF2-40B4-BE49-F238E27FC236}">
                <a16:creationId xmlns:a16="http://schemas.microsoft.com/office/drawing/2014/main" id="{00DF1DF1-E612-7259-00E2-0E94AA9CD634}"/>
              </a:ext>
            </a:extLst>
          </p:cNvPr>
          <p:cNvSpPr/>
          <p:nvPr userDrawn="1"/>
        </p:nvSpPr>
        <p:spPr>
          <a:xfrm rot="2700000">
            <a:off x="11090780" y="1102947"/>
            <a:ext cx="573932" cy="2880691"/>
          </a:xfrm>
          <a:custGeom>
            <a:avLst/>
            <a:gdLst>
              <a:gd name="connsiteX0" fmla="*/ 0 w 573932"/>
              <a:gd name="connsiteY0" fmla="*/ 0 h 2880691"/>
              <a:gd name="connsiteX1" fmla="*/ 573932 w 573932"/>
              <a:gd name="connsiteY1" fmla="*/ 573932 h 2880691"/>
              <a:gd name="connsiteX2" fmla="*/ 573932 w 573932"/>
              <a:gd name="connsiteY2" fmla="*/ 2593725 h 2880691"/>
              <a:gd name="connsiteX3" fmla="*/ 286966 w 573932"/>
              <a:gd name="connsiteY3" fmla="*/ 2880691 h 2880691"/>
              <a:gd name="connsiteX4" fmla="*/ 0 w 573932"/>
              <a:gd name="connsiteY4" fmla="*/ 2593725 h 2880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932" h="2880691">
                <a:moveTo>
                  <a:pt x="0" y="0"/>
                </a:moveTo>
                <a:lnTo>
                  <a:pt x="573932" y="573932"/>
                </a:lnTo>
                <a:lnTo>
                  <a:pt x="573932" y="2593725"/>
                </a:lnTo>
                <a:cubicBezTo>
                  <a:pt x="573932" y="2752212"/>
                  <a:pt x="445453" y="2880691"/>
                  <a:pt x="286966" y="2880691"/>
                </a:cubicBezTo>
                <a:cubicBezTo>
                  <a:pt x="128479" y="2880691"/>
                  <a:pt x="0" y="2752212"/>
                  <a:pt x="0" y="2593725"/>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9" name="Graphic 8">
            <a:extLst>
              <a:ext uri="{FF2B5EF4-FFF2-40B4-BE49-F238E27FC236}">
                <a16:creationId xmlns:a16="http://schemas.microsoft.com/office/drawing/2014/main" id="{A32A4BBE-9AC6-9A23-A558-3095FF713B79}"/>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726120" y="5218685"/>
            <a:ext cx="2212298" cy="399963"/>
          </a:xfrm>
          <a:prstGeom prst="rect">
            <a:avLst/>
          </a:prstGeom>
        </p:spPr>
      </p:pic>
      <p:sp>
        <p:nvSpPr>
          <p:cNvPr id="10" name="Title 1">
            <a:extLst>
              <a:ext uri="{FF2B5EF4-FFF2-40B4-BE49-F238E27FC236}">
                <a16:creationId xmlns:a16="http://schemas.microsoft.com/office/drawing/2014/main" id="{FD57E1A5-6398-744B-9D89-B5FC950E8582}"/>
              </a:ext>
            </a:extLst>
          </p:cNvPr>
          <p:cNvSpPr>
            <a:spLocks noGrp="1"/>
          </p:cNvSpPr>
          <p:nvPr>
            <p:ph type="title" hasCustomPrompt="1"/>
          </p:nvPr>
        </p:nvSpPr>
        <p:spPr bwMode="white">
          <a:xfrm>
            <a:off x="560269" y="1265342"/>
            <a:ext cx="5650031" cy="2087458"/>
          </a:xfrm>
          <a:prstGeom prst="rect">
            <a:avLst/>
          </a:prstGeom>
        </p:spPr>
        <p:txBody>
          <a:bodyPr vert="horz" anchor="t" anchorCtr="0"/>
          <a:lstStyle>
            <a:lvl1pPr>
              <a:lnSpc>
                <a:spcPct val="100000"/>
              </a:lnSpc>
              <a:defRPr sz="4400" b="0">
                <a:solidFill>
                  <a:schemeClr val="tx2"/>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
        <p:nvSpPr>
          <p:cNvPr id="11" name="Subtitle 2">
            <a:extLst>
              <a:ext uri="{FF2B5EF4-FFF2-40B4-BE49-F238E27FC236}">
                <a16:creationId xmlns:a16="http://schemas.microsoft.com/office/drawing/2014/main" id="{3D3BA533-3ADD-8D51-053C-1D0D9AD3232B}"/>
              </a:ext>
            </a:extLst>
          </p:cNvPr>
          <p:cNvSpPr>
            <a:spLocks noGrp="1"/>
          </p:cNvSpPr>
          <p:nvPr>
            <p:ph type="subTitle" idx="1" hasCustomPrompt="1"/>
          </p:nvPr>
        </p:nvSpPr>
        <p:spPr>
          <a:xfrm>
            <a:off x="560269" y="767271"/>
            <a:ext cx="1841636" cy="325776"/>
          </a:xfrm>
          <a:prstGeom prst="rect">
            <a:avLst/>
          </a:prstGeom>
        </p:spPr>
        <p:txBody>
          <a:bodyPr anchor="ctr">
            <a:noAutofit/>
          </a:bodyPr>
          <a:lstStyle>
            <a:lvl1pPr marL="0" indent="0" algn="l">
              <a:lnSpc>
                <a:spcPct val="100000"/>
              </a:lnSpc>
              <a:spcBef>
                <a:spcPts val="200"/>
              </a:spcBef>
              <a:buNone/>
              <a:defRPr sz="1200" b="1" cap="all" baseline="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sp>
        <p:nvSpPr>
          <p:cNvPr id="2" name="Picture Placeholder 41">
            <a:extLst>
              <a:ext uri="{FF2B5EF4-FFF2-40B4-BE49-F238E27FC236}">
                <a16:creationId xmlns:a16="http://schemas.microsoft.com/office/drawing/2014/main" id="{646C28D9-E3F6-9E2B-04BE-29A79EA6668D}"/>
              </a:ext>
            </a:extLst>
          </p:cNvPr>
          <p:cNvSpPr>
            <a:spLocks noGrp="1"/>
          </p:cNvSpPr>
          <p:nvPr>
            <p:ph type="pic" sz="quarter" idx="14" hasCustomPrompt="1"/>
          </p:nvPr>
        </p:nvSpPr>
        <p:spPr>
          <a:xfrm>
            <a:off x="8667751" y="3414409"/>
            <a:ext cx="3194049" cy="3189591"/>
          </a:xfrm>
          <a:prstGeom prst="roundRect">
            <a:avLst>
              <a:gd name="adj" fmla="val 24829"/>
            </a:avLst>
          </a:pr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Tree>
    <p:extLst>
      <p:ext uri="{BB962C8B-B14F-4D97-AF65-F5344CB8AC3E}">
        <p14:creationId xmlns:p14="http://schemas.microsoft.com/office/powerpoint/2010/main" val="71708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BAD4242-30D3-4D6F-83E1-9D8590EAE0FF}" type="datetimeFigureOut">
              <a:rPr lang="en-GB" smtClean="0"/>
              <a:t>01/07/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28349010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2026-07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343959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Top Corners Rounded 5">
            <a:extLst>
              <a:ext uri="{FF2B5EF4-FFF2-40B4-BE49-F238E27FC236}">
                <a16:creationId xmlns:a16="http://schemas.microsoft.com/office/drawing/2014/main" id="{06A038E8-64AE-8880-6663-5B5585D30CCB}"/>
              </a:ext>
            </a:extLst>
          </p:cNvPr>
          <p:cNvSpPr/>
          <p:nvPr userDrawn="1"/>
        </p:nvSpPr>
        <p:spPr>
          <a:xfrm rot="5400000">
            <a:off x="2133600" y="-1543050"/>
            <a:ext cx="5676900" cy="9944100"/>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330374AA-A7E2-AECE-1458-73409259AA40}"/>
              </a:ext>
            </a:extLst>
          </p:cNvPr>
          <p:cNvSpPr/>
          <p:nvPr userDrawn="1"/>
        </p:nvSpPr>
        <p:spPr>
          <a:xfrm>
            <a:off x="2" y="589788"/>
            <a:ext cx="2853043" cy="5678424"/>
          </a:xfrm>
          <a:custGeom>
            <a:avLst/>
            <a:gdLst>
              <a:gd name="connsiteX0" fmla="*/ 0 w 2853043"/>
              <a:gd name="connsiteY0" fmla="*/ 0 h 5678424"/>
              <a:gd name="connsiteX1" fmla="*/ 13830 w 2853043"/>
              <a:gd name="connsiteY1" fmla="*/ 0 h 5678424"/>
              <a:gd name="connsiteX2" fmla="*/ 2853043 w 2853043"/>
              <a:gd name="connsiteY2" fmla="*/ 2839212 h 5678424"/>
              <a:gd name="connsiteX3" fmla="*/ 2853042 w 2853043"/>
              <a:gd name="connsiteY3" fmla="*/ 2839212 h 5678424"/>
              <a:gd name="connsiteX4" fmla="*/ 13829 w 2853043"/>
              <a:gd name="connsiteY4" fmla="*/ 5678424 h 5678424"/>
              <a:gd name="connsiteX5" fmla="*/ 0 w 2853043"/>
              <a:gd name="connsiteY5" fmla="*/ 5678424 h 567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3043" h="5678424">
                <a:moveTo>
                  <a:pt x="0" y="0"/>
                </a:moveTo>
                <a:lnTo>
                  <a:pt x="13830" y="0"/>
                </a:lnTo>
                <a:cubicBezTo>
                  <a:pt x="1581884" y="0"/>
                  <a:pt x="2853043" y="1271159"/>
                  <a:pt x="2853043" y="2839212"/>
                </a:cubicBezTo>
                <a:lnTo>
                  <a:pt x="2853042" y="2839212"/>
                </a:lnTo>
                <a:cubicBezTo>
                  <a:pt x="2853042" y="4407266"/>
                  <a:pt x="1581883" y="5678424"/>
                  <a:pt x="13829" y="5678424"/>
                </a:cubicBezTo>
                <a:lnTo>
                  <a:pt x="0" y="5678424"/>
                </a:lnTo>
                <a:close/>
              </a:path>
            </a:pathLst>
          </a:custGeom>
          <a:gradFill flip="none" rotWithShape="1">
            <a:gsLst>
              <a:gs pos="0">
                <a:srgbClr val="3E747E"/>
              </a:gs>
              <a:gs pos="98000">
                <a:srgbClr val="6CE5C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pic>
        <p:nvPicPr>
          <p:cNvPr id="5" name="Graphic 4">
            <a:extLst>
              <a:ext uri="{FF2B5EF4-FFF2-40B4-BE49-F238E27FC236}">
                <a16:creationId xmlns:a16="http://schemas.microsoft.com/office/drawing/2014/main" id="{581C33A8-1F18-8162-5652-8392E5AF9164}"/>
              </a:ext>
            </a:extLst>
          </p:cNvPr>
          <p:cNvPicPr>
            <a:picLocks/>
          </p:cNvPicPr>
          <p:nvPr userDrawn="1"/>
        </p:nvPicPr>
        <p:blipFill>
          <a:blip>
            <a:extLst>
              <a:ext uri="{96DAC541-7B7A-43D3-8B79-37D633B846F1}">
                <asvg:svgBlip xmlns:asvg="http://schemas.microsoft.com/office/drawing/2016/SVG/main" r:embed="rId5"/>
              </a:ext>
            </a:extLst>
          </a:blip>
          <a:stretch>
            <a:fillRect/>
          </a:stretch>
        </p:blipFill>
        <p:spPr>
          <a:xfrm>
            <a:off x="9360095" y="5843933"/>
            <a:ext cx="2212298" cy="399963"/>
          </a:xfrm>
          <a:prstGeom prst="rect">
            <a:avLst/>
          </a:prstGeom>
        </p:spPr>
      </p:pic>
      <p:sp>
        <p:nvSpPr>
          <p:cNvPr id="14" name="Title 1">
            <a:extLst>
              <a:ext uri="{FF2B5EF4-FFF2-40B4-BE49-F238E27FC236}">
                <a16:creationId xmlns:a16="http://schemas.microsoft.com/office/drawing/2014/main" id="{4411A8A4-6024-50CD-FEB3-D5754242D804}"/>
              </a:ext>
            </a:extLst>
          </p:cNvPr>
          <p:cNvSpPr>
            <a:spLocks noGrp="1"/>
          </p:cNvSpPr>
          <p:nvPr>
            <p:ph type="title" hasCustomPrompt="1"/>
          </p:nvPr>
        </p:nvSpPr>
        <p:spPr bwMode="white">
          <a:xfrm>
            <a:off x="3354269" y="2400302"/>
            <a:ext cx="5446831" cy="2057398"/>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Tree>
    <p:extLst>
      <p:ext uri="{BB962C8B-B14F-4D97-AF65-F5344CB8AC3E}">
        <p14:creationId xmlns:p14="http://schemas.microsoft.com/office/powerpoint/2010/main" val="349291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026-08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864DD5-4E04-C014-88C4-72B74F205ACF}"/>
              </a:ext>
            </a:extLst>
          </p:cNvPr>
          <p:cNvGraphicFramePr>
            <a:graphicFrameLocks noChangeAspect="1"/>
          </p:cNvGraphicFramePr>
          <p:nvPr userDrawn="1">
            <p:custDataLst>
              <p:tags r:id="rId1"/>
            </p:custDataLst>
            <p:extLst>
              <p:ext uri="{D42A27DB-BD31-4B8C-83A1-F6EECF244321}">
                <p14:modId xmlns:p14="http://schemas.microsoft.com/office/powerpoint/2010/main" val="48081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C864DD5-4E04-C014-88C4-72B74F205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6D66F840-DC3F-98E2-1515-EBA85FF8AB6E}"/>
              </a:ext>
            </a:extLst>
          </p:cNvPr>
          <p:cNvSpPr/>
          <p:nvPr userDrawn="1"/>
        </p:nvSpPr>
        <p:spPr>
          <a:xfrm>
            <a:off x="0"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Noto Sans"/>
              <a:ea typeface="+mn-ea"/>
              <a:cs typeface="+mn-cs"/>
            </a:endParaRPr>
          </a:p>
        </p:txBody>
      </p:sp>
      <p:grpSp>
        <p:nvGrpSpPr>
          <p:cNvPr id="33" name="Group 32">
            <a:extLst>
              <a:ext uri="{FF2B5EF4-FFF2-40B4-BE49-F238E27FC236}">
                <a16:creationId xmlns:a16="http://schemas.microsoft.com/office/drawing/2014/main" id="{E3F9D131-ED47-159F-D2D8-EE9600953C46}"/>
              </a:ext>
            </a:extLst>
          </p:cNvPr>
          <p:cNvGrpSpPr/>
          <p:nvPr userDrawn="1"/>
        </p:nvGrpSpPr>
        <p:grpSpPr>
          <a:xfrm>
            <a:off x="6291548" y="469901"/>
            <a:ext cx="5651999" cy="5905499"/>
            <a:chOff x="-3636639" y="711200"/>
            <a:chExt cx="6563187" cy="6857555"/>
          </a:xfrm>
        </p:grpSpPr>
        <p:sp>
          <p:nvSpPr>
            <p:cNvPr id="8" name="Freeform: Shape 7">
              <a:extLst>
                <a:ext uri="{FF2B5EF4-FFF2-40B4-BE49-F238E27FC236}">
                  <a16:creationId xmlns:a16="http://schemas.microsoft.com/office/drawing/2014/main" id="{1B0CD13D-716D-C239-E3F7-94F356E4BDD1}"/>
                </a:ext>
              </a:extLst>
            </p:cNvPr>
            <p:cNvSpPr/>
            <p:nvPr/>
          </p:nvSpPr>
          <p:spPr>
            <a:xfrm>
              <a:off x="-2915180" y="711200"/>
              <a:ext cx="920466" cy="920466"/>
            </a:xfrm>
            <a:custGeom>
              <a:avLst/>
              <a:gdLst>
                <a:gd name="connsiteX0" fmla="*/ 920467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6"/>
                    <a:pt x="460233" y="920466"/>
                  </a:cubicBezTo>
                  <a:cubicBezTo>
                    <a:pt x="206053" y="920466"/>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9" name="Freeform: Shape 8">
              <a:extLst>
                <a:ext uri="{FF2B5EF4-FFF2-40B4-BE49-F238E27FC236}">
                  <a16:creationId xmlns:a16="http://schemas.microsoft.com/office/drawing/2014/main" id="{D8E56412-5E8B-A1F9-6893-9684E967775D}"/>
                </a:ext>
              </a:extLst>
            </p:cNvPr>
            <p:cNvSpPr/>
            <p:nvPr/>
          </p:nvSpPr>
          <p:spPr>
            <a:xfrm>
              <a:off x="-1246696" y="711200"/>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2 h 920392"/>
                <a:gd name="connsiteX4" fmla="*/ 460233 w 1666338"/>
                <a:gd name="connsiteY4" fmla="*/ 920392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5" y="920392"/>
                    <a:pt x="1206105" y="920392"/>
                  </a:cubicBezTo>
                  <a:lnTo>
                    <a:pt x="460233" y="920392"/>
                  </a:lnTo>
                  <a:cubicBezTo>
                    <a:pt x="206053" y="920392"/>
                    <a:pt x="0" y="714339"/>
                    <a:pt x="0" y="460159"/>
                  </a:cubicBezTo>
                  <a:lnTo>
                    <a:pt x="0" y="460233"/>
                  </a:lnTo>
                  <a:cubicBezTo>
                    <a:pt x="0" y="206053"/>
                    <a:pt x="206053" y="0"/>
                    <a:pt x="460233" y="0"/>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0" name="Freeform: Shape 9">
              <a:extLst>
                <a:ext uri="{FF2B5EF4-FFF2-40B4-BE49-F238E27FC236}">
                  <a16:creationId xmlns:a16="http://schemas.microsoft.com/office/drawing/2014/main" id="{04C4114B-28B5-5F88-4DC0-2E450A0C1E15}"/>
                </a:ext>
              </a:extLst>
            </p:cNvPr>
            <p:cNvSpPr/>
            <p:nvPr/>
          </p:nvSpPr>
          <p:spPr>
            <a:xfrm>
              <a:off x="-1246770" y="711200"/>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1" name="Freeform: Shape 10">
              <a:extLst>
                <a:ext uri="{FF2B5EF4-FFF2-40B4-BE49-F238E27FC236}">
                  <a16:creationId xmlns:a16="http://schemas.microsoft.com/office/drawing/2014/main" id="{32AEE555-A49B-9B6E-955F-DA38BEC6E48D}"/>
                </a:ext>
              </a:extLst>
            </p:cNvPr>
            <p:cNvSpPr/>
            <p:nvPr/>
          </p:nvSpPr>
          <p:spPr>
            <a:xfrm>
              <a:off x="1228546" y="711200"/>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2" name="Freeform: Shape 11">
              <a:extLst>
                <a:ext uri="{FF2B5EF4-FFF2-40B4-BE49-F238E27FC236}">
                  <a16:creationId xmlns:a16="http://schemas.microsoft.com/office/drawing/2014/main" id="{B97164CF-FD44-445F-654A-F40CBDDCA5F8}"/>
                </a:ext>
              </a:extLst>
            </p:cNvPr>
            <p:cNvSpPr/>
            <p:nvPr/>
          </p:nvSpPr>
          <p:spPr>
            <a:xfrm>
              <a:off x="-413526" y="1632332"/>
              <a:ext cx="1666338" cy="920392"/>
            </a:xfrm>
            <a:custGeom>
              <a:avLst/>
              <a:gdLst>
                <a:gd name="connsiteX0" fmla="*/ 1206106 w 1666338"/>
                <a:gd name="connsiteY0" fmla="*/ 0 h 920392"/>
                <a:gd name="connsiteX1" fmla="*/ 1666339 w 1666338"/>
                <a:gd name="connsiteY1" fmla="*/ 460233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3"/>
                  </a:cubicBezTo>
                  <a:lnTo>
                    <a:pt x="1666339" y="460159"/>
                  </a:lnTo>
                  <a:cubicBezTo>
                    <a:pt x="1666339" y="714339"/>
                    <a:pt x="1460286" y="920393"/>
                    <a:pt x="1206106" y="920393"/>
                  </a:cubicBezTo>
                  <a:lnTo>
                    <a:pt x="460233" y="920393"/>
                  </a:lnTo>
                  <a:cubicBezTo>
                    <a:pt x="206053" y="920393"/>
                    <a:pt x="0" y="714339"/>
                    <a:pt x="0" y="460159"/>
                  </a:cubicBezTo>
                  <a:lnTo>
                    <a:pt x="0" y="460233"/>
                  </a:lnTo>
                  <a:cubicBezTo>
                    <a:pt x="0" y="206053"/>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3" name="Freeform: Shape 12">
              <a:extLst>
                <a:ext uri="{FF2B5EF4-FFF2-40B4-BE49-F238E27FC236}">
                  <a16:creationId xmlns:a16="http://schemas.microsoft.com/office/drawing/2014/main" id="{78501A8E-B988-B0A4-38C2-E875AACF00F3}"/>
                </a:ext>
              </a:extLst>
            </p:cNvPr>
            <p:cNvSpPr/>
            <p:nvPr/>
          </p:nvSpPr>
          <p:spPr>
            <a:xfrm>
              <a:off x="308153" y="1632258"/>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4" name="Freeform: Shape 13">
              <a:extLst>
                <a:ext uri="{FF2B5EF4-FFF2-40B4-BE49-F238E27FC236}">
                  <a16:creationId xmlns:a16="http://schemas.microsoft.com/office/drawing/2014/main" id="{EE634FCA-D671-8E4E-FB65-176D5753BD81}"/>
                </a:ext>
              </a:extLst>
            </p:cNvPr>
            <p:cNvSpPr/>
            <p:nvPr/>
          </p:nvSpPr>
          <p:spPr>
            <a:xfrm>
              <a:off x="611252" y="2552724"/>
              <a:ext cx="2315296" cy="920392"/>
            </a:xfrm>
            <a:custGeom>
              <a:avLst/>
              <a:gdLst>
                <a:gd name="connsiteX0" fmla="*/ 1855063 w 2315296"/>
                <a:gd name="connsiteY0" fmla="*/ 0 h 920392"/>
                <a:gd name="connsiteX1" fmla="*/ 2315297 w 2315296"/>
                <a:gd name="connsiteY1" fmla="*/ 460233 h 920392"/>
                <a:gd name="connsiteX2" fmla="*/ 2315297 w 2315296"/>
                <a:gd name="connsiteY2" fmla="*/ 460159 h 920392"/>
                <a:gd name="connsiteX3" fmla="*/ 1855063 w 2315296"/>
                <a:gd name="connsiteY3" fmla="*/ 920392 h 920392"/>
                <a:gd name="connsiteX4" fmla="*/ 460233 w 2315296"/>
                <a:gd name="connsiteY4" fmla="*/ 920392 h 920392"/>
                <a:gd name="connsiteX5" fmla="*/ 0 w 2315296"/>
                <a:gd name="connsiteY5" fmla="*/ 460159 h 920392"/>
                <a:gd name="connsiteX6" fmla="*/ 0 w 2315296"/>
                <a:gd name="connsiteY6" fmla="*/ 460233 h 920392"/>
                <a:gd name="connsiteX7" fmla="*/ 460233 w 2315296"/>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5296" h="920392">
                  <a:moveTo>
                    <a:pt x="1855063" y="0"/>
                  </a:moveTo>
                  <a:cubicBezTo>
                    <a:pt x="2109243" y="0"/>
                    <a:pt x="2315297" y="206053"/>
                    <a:pt x="2315297" y="460233"/>
                  </a:cubicBezTo>
                  <a:lnTo>
                    <a:pt x="2315297" y="460159"/>
                  </a:lnTo>
                  <a:cubicBezTo>
                    <a:pt x="2315297" y="714339"/>
                    <a:pt x="2109243" y="920392"/>
                    <a:pt x="1855063" y="920392"/>
                  </a:cubicBezTo>
                  <a:lnTo>
                    <a:pt x="460233" y="920392"/>
                  </a:lnTo>
                  <a:cubicBezTo>
                    <a:pt x="206054" y="920392"/>
                    <a:pt x="0" y="714339"/>
                    <a:pt x="0" y="460159"/>
                  </a:cubicBezTo>
                  <a:lnTo>
                    <a:pt x="0" y="460233"/>
                  </a:lnTo>
                  <a:cubicBezTo>
                    <a:pt x="0" y="206053"/>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5" name="Freeform: Shape 14">
              <a:extLst>
                <a:ext uri="{FF2B5EF4-FFF2-40B4-BE49-F238E27FC236}">
                  <a16:creationId xmlns:a16="http://schemas.microsoft.com/office/drawing/2014/main" id="{D924FC20-7D0D-869C-E9B7-7B299C8191A2}"/>
                </a:ext>
              </a:extLst>
            </p:cNvPr>
            <p:cNvSpPr/>
            <p:nvPr/>
          </p:nvSpPr>
          <p:spPr>
            <a:xfrm>
              <a:off x="1228546" y="3473117"/>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6" name="Freeform: Shape 15">
              <a:extLst>
                <a:ext uri="{FF2B5EF4-FFF2-40B4-BE49-F238E27FC236}">
                  <a16:creationId xmlns:a16="http://schemas.microsoft.com/office/drawing/2014/main" id="{9D97B7C2-D247-4CB8-F5BE-35AB2F63072A}"/>
                </a:ext>
              </a:extLst>
            </p:cNvPr>
            <p:cNvSpPr/>
            <p:nvPr/>
          </p:nvSpPr>
          <p:spPr>
            <a:xfrm>
              <a:off x="1228620" y="4398096"/>
              <a:ext cx="1697928" cy="920392"/>
            </a:xfrm>
            <a:custGeom>
              <a:avLst/>
              <a:gdLst>
                <a:gd name="connsiteX0" fmla="*/ 1250642 w 1697928"/>
                <a:gd name="connsiteY0" fmla="*/ 0 h 920392"/>
                <a:gd name="connsiteX1" fmla="*/ 1697929 w 1697928"/>
                <a:gd name="connsiteY1" fmla="*/ 447287 h 920392"/>
                <a:gd name="connsiteX2" fmla="*/ 1697929 w 1697928"/>
                <a:gd name="connsiteY2" fmla="*/ 473106 h 920392"/>
                <a:gd name="connsiteX3" fmla="*/ 1250642 w 1697928"/>
                <a:gd name="connsiteY3" fmla="*/ 920393 h 920392"/>
                <a:gd name="connsiteX4" fmla="*/ 447286 w 1697928"/>
                <a:gd name="connsiteY4" fmla="*/ 920393 h 920392"/>
                <a:gd name="connsiteX5" fmla="*/ 0 w 1697928"/>
                <a:gd name="connsiteY5" fmla="*/ 473106 h 920392"/>
                <a:gd name="connsiteX6" fmla="*/ 0 w 1697928"/>
                <a:gd name="connsiteY6" fmla="*/ 447287 h 920392"/>
                <a:gd name="connsiteX7" fmla="*/ 447286 w 169792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928" h="920392">
                  <a:moveTo>
                    <a:pt x="1250642" y="0"/>
                  </a:moveTo>
                  <a:cubicBezTo>
                    <a:pt x="1497671" y="0"/>
                    <a:pt x="1697929" y="200257"/>
                    <a:pt x="1697929" y="447287"/>
                  </a:cubicBezTo>
                  <a:lnTo>
                    <a:pt x="1697929" y="473106"/>
                  </a:lnTo>
                  <a:cubicBezTo>
                    <a:pt x="1697929" y="720135"/>
                    <a:pt x="1497672" y="920393"/>
                    <a:pt x="1250642" y="920393"/>
                  </a:cubicBezTo>
                  <a:lnTo>
                    <a:pt x="447286" y="920393"/>
                  </a:lnTo>
                  <a:cubicBezTo>
                    <a:pt x="200257" y="920393"/>
                    <a:pt x="0" y="720136"/>
                    <a:pt x="0" y="473106"/>
                  </a:cubicBezTo>
                  <a:lnTo>
                    <a:pt x="0" y="447287"/>
                  </a:lnTo>
                  <a:cubicBezTo>
                    <a:pt x="0" y="200257"/>
                    <a:pt x="200257" y="0"/>
                    <a:pt x="447286" y="0"/>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7" name="Freeform: Shape 16">
              <a:extLst>
                <a:ext uri="{FF2B5EF4-FFF2-40B4-BE49-F238E27FC236}">
                  <a16:creationId xmlns:a16="http://schemas.microsoft.com/office/drawing/2014/main" id="{6A346994-B426-203A-07D5-80547C708E56}"/>
                </a:ext>
              </a:extLst>
            </p:cNvPr>
            <p:cNvSpPr/>
            <p:nvPr/>
          </p:nvSpPr>
          <p:spPr>
            <a:xfrm>
              <a:off x="698919" y="5323001"/>
              <a:ext cx="1687275" cy="920392"/>
            </a:xfrm>
            <a:custGeom>
              <a:avLst/>
              <a:gdLst>
                <a:gd name="connsiteX0" fmla="*/ 1227042 w 1687275"/>
                <a:gd name="connsiteY0" fmla="*/ 0 h 920392"/>
                <a:gd name="connsiteX1" fmla="*/ 1687276 w 1687275"/>
                <a:gd name="connsiteY1" fmla="*/ 460233 h 920392"/>
                <a:gd name="connsiteX2" fmla="*/ 1687276 w 1687275"/>
                <a:gd name="connsiteY2" fmla="*/ 460159 h 920392"/>
                <a:gd name="connsiteX3" fmla="*/ 1227042 w 1687275"/>
                <a:gd name="connsiteY3" fmla="*/ 920393 h 920392"/>
                <a:gd name="connsiteX4" fmla="*/ 460233 w 1687275"/>
                <a:gd name="connsiteY4" fmla="*/ 920393 h 920392"/>
                <a:gd name="connsiteX5" fmla="*/ 0 w 1687275"/>
                <a:gd name="connsiteY5" fmla="*/ 460159 h 920392"/>
                <a:gd name="connsiteX6" fmla="*/ 0 w 1687275"/>
                <a:gd name="connsiteY6" fmla="*/ 460233 h 920392"/>
                <a:gd name="connsiteX7" fmla="*/ 460233 w 1687275"/>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7275" h="920392">
                  <a:moveTo>
                    <a:pt x="1227042" y="0"/>
                  </a:moveTo>
                  <a:cubicBezTo>
                    <a:pt x="1481222" y="0"/>
                    <a:pt x="1687276" y="206053"/>
                    <a:pt x="1687276" y="460233"/>
                  </a:cubicBezTo>
                  <a:lnTo>
                    <a:pt x="1687276" y="460159"/>
                  </a:lnTo>
                  <a:cubicBezTo>
                    <a:pt x="1687276" y="714339"/>
                    <a:pt x="1481222" y="920393"/>
                    <a:pt x="1227042" y="920393"/>
                  </a:cubicBezTo>
                  <a:lnTo>
                    <a:pt x="460233" y="920393"/>
                  </a:lnTo>
                  <a:cubicBezTo>
                    <a:pt x="206054" y="920393"/>
                    <a:pt x="0" y="714339"/>
                    <a:pt x="0" y="460159"/>
                  </a:cubicBezTo>
                  <a:lnTo>
                    <a:pt x="0" y="460233"/>
                  </a:lnTo>
                  <a:cubicBezTo>
                    <a:pt x="0" y="206054"/>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8" name="Freeform: Shape 17">
              <a:extLst>
                <a:ext uri="{FF2B5EF4-FFF2-40B4-BE49-F238E27FC236}">
                  <a16:creationId xmlns:a16="http://schemas.microsoft.com/office/drawing/2014/main" id="{515C3DCF-B310-DBED-FE6D-0455460C74D5}"/>
                </a:ext>
              </a:extLst>
            </p:cNvPr>
            <p:cNvSpPr/>
            <p:nvPr/>
          </p:nvSpPr>
          <p:spPr>
            <a:xfrm>
              <a:off x="1228546" y="6477320"/>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19" name="Freeform: Shape 18">
              <a:extLst>
                <a:ext uri="{FF2B5EF4-FFF2-40B4-BE49-F238E27FC236}">
                  <a16:creationId xmlns:a16="http://schemas.microsoft.com/office/drawing/2014/main" id="{BEFF6048-5617-D6BF-9EBC-40116B532B38}"/>
                </a:ext>
              </a:extLst>
            </p:cNvPr>
            <p:cNvSpPr/>
            <p:nvPr/>
          </p:nvSpPr>
          <p:spPr>
            <a:xfrm>
              <a:off x="308153" y="6477320"/>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4"/>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0" name="Freeform: Shape 19">
              <a:extLst>
                <a:ext uri="{FF2B5EF4-FFF2-40B4-BE49-F238E27FC236}">
                  <a16:creationId xmlns:a16="http://schemas.microsoft.com/office/drawing/2014/main" id="{60AC4BC1-7BB5-461D-4186-57D7CB424A62}"/>
                </a:ext>
              </a:extLst>
            </p:cNvPr>
            <p:cNvSpPr/>
            <p:nvPr/>
          </p:nvSpPr>
          <p:spPr>
            <a:xfrm rot="5400000">
              <a:off x="-783170" y="3639906"/>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2 h 920392"/>
                <a:gd name="connsiteX4" fmla="*/ 460233 w 1666338"/>
                <a:gd name="connsiteY4" fmla="*/ 920392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6" y="920392"/>
                    <a:pt x="1206105" y="920392"/>
                  </a:cubicBezTo>
                  <a:lnTo>
                    <a:pt x="460233" y="920392"/>
                  </a:lnTo>
                  <a:cubicBezTo>
                    <a:pt x="206053" y="920392"/>
                    <a:pt x="0" y="714339"/>
                    <a:pt x="0" y="460159"/>
                  </a:cubicBezTo>
                  <a:lnTo>
                    <a:pt x="0" y="460233"/>
                  </a:lnTo>
                  <a:cubicBezTo>
                    <a:pt x="0" y="206053"/>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1" name="Freeform: Shape 20">
              <a:extLst>
                <a:ext uri="{FF2B5EF4-FFF2-40B4-BE49-F238E27FC236}">
                  <a16:creationId xmlns:a16="http://schemas.microsoft.com/office/drawing/2014/main" id="{326CC3A3-6381-6772-A88F-6A1C877E2CD2}"/>
                </a:ext>
              </a:extLst>
            </p:cNvPr>
            <p:cNvSpPr/>
            <p:nvPr/>
          </p:nvSpPr>
          <p:spPr>
            <a:xfrm>
              <a:off x="-413526" y="4012879"/>
              <a:ext cx="920466" cy="920466"/>
            </a:xfrm>
            <a:custGeom>
              <a:avLst/>
              <a:gdLst>
                <a:gd name="connsiteX0" fmla="*/ 920467 w 920466"/>
                <a:gd name="connsiteY0" fmla="*/ 460233 h 920466"/>
                <a:gd name="connsiteX1" fmla="*/ 460234 w 920466"/>
                <a:gd name="connsiteY1" fmla="*/ 920467 h 920466"/>
                <a:gd name="connsiteX2" fmla="*/ 0 w 920466"/>
                <a:gd name="connsiteY2" fmla="*/ 460233 h 920466"/>
                <a:gd name="connsiteX3" fmla="*/ 460234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4" y="920467"/>
                  </a:cubicBezTo>
                  <a:cubicBezTo>
                    <a:pt x="206054" y="920467"/>
                    <a:pt x="0" y="714413"/>
                    <a:pt x="0" y="460233"/>
                  </a:cubicBezTo>
                  <a:cubicBezTo>
                    <a:pt x="0" y="206054"/>
                    <a:pt x="206054" y="0"/>
                    <a:pt x="460234" y="0"/>
                  </a:cubicBezTo>
                  <a:cubicBezTo>
                    <a:pt x="714413" y="0"/>
                    <a:pt x="920467" y="206054"/>
                    <a:pt x="920467"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2" name="Freeform: Shape 21">
              <a:extLst>
                <a:ext uri="{FF2B5EF4-FFF2-40B4-BE49-F238E27FC236}">
                  <a16:creationId xmlns:a16="http://schemas.microsoft.com/office/drawing/2014/main" id="{487F3FD4-7F0C-7B88-D5D7-A9B1D4E7EDCD}"/>
                </a:ext>
              </a:extLst>
            </p:cNvPr>
            <p:cNvSpPr/>
            <p:nvPr/>
          </p:nvSpPr>
          <p:spPr>
            <a:xfrm>
              <a:off x="-410197"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3" name="Freeform: Shape 22">
              <a:extLst>
                <a:ext uri="{FF2B5EF4-FFF2-40B4-BE49-F238E27FC236}">
                  <a16:creationId xmlns:a16="http://schemas.microsoft.com/office/drawing/2014/main" id="{4719D077-291C-F22B-E91D-1D74A19CCC20}"/>
                </a:ext>
              </a:extLst>
            </p:cNvPr>
            <p:cNvSpPr/>
            <p:nvPr/>
          </p:nvSpPr>
          <p:spPr>
            <a:xfrm>
              <a:off x="-1330590" y="4957611"/>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4" y="920467"/>
                    <a:pt x="0" y="714413"/>
                    <a:pt x="0" y="460233"/>
                  </a:cubicBezTo>
                  <a:cubicBezTo>
                    <a:pt x="0" y="206054"/>
                    <a:pt x="206054" y="0"/>
                    <a:pt x="460233" y="0"/>
                  </a:cubicBezTo>
                  <a:cubicBezTo>
                    <a:pt x="714413" y="0"/>
                    <a:pt x="920467" y="206053"/>
                    <a:pt x="920467"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4" name="Freeform: Shape 23">
              <a:extLst>
                <a:ext uri="{FF2B5EF4-FFF2-40B4-BE49-F238E27FC236}">
                  <a16:creationId xmlns:a16="http://schemas.microsoft.com/office/drawing/2014/main" id="{F26E80CF-7709-6FA0-986E-0B101C62C03D}"/>
                </a:ext>
              </a:extLst>
            </p:cNvPr>
            <p:cNvSpPr/>
            <p:nvPr/>
          </p:nvSpPr>
          <p:spPr>
            <a:xfrm rot="5400000">
              <a:off x="-1701861" y="6275316"/>
              <a:ext cx="1666338" cy="920392"/>
            </a:xfrm>
            <a:custGeom>
              <a:avLst/>
              <a:gdLst>
                <a:gd name="connsiteX0" fmla="*/ 1206105 w 1666338"/>
                <a:gd name="connsiteY0" fmla="*/ 0 h 920392"/>
                <a:gd name="connsiteX1" fmla="*/ 1666339 w 1666338"/>
                <a:gd name="connsiteY1" fmla="*/ 460233 h 920392"/>
                <a:gd name="connsiteX2" fmla="*/ 1666339 w 1666338"/>
                <a:gd name="connsiteY2" fmla="*/ 460159 h 920392"/>
                <a:gd name="connsiteX3" fmla="*/ 1206105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5" y="0"/>
                  </a:moveTo>
                  <a:cubicBezTo>
                    <a:pt x="1460285" y="0"/>
                    <a:pt x="1666339" y="206053"/>
                    <a:pt x="1666339" y="460233"/>
                  </a:cubicBezTo>
                  <a:lnTo>
                    <a:pt x="1666339" y="460159"/>
                  </a:lnTo>
                  <a:cubicBezTo>
                    <a:pt x="1666339" y="714339"/>
                    <a:pt x="1460285" y="920393"/>
                    <a:pt x="1206105" y="920393"/>
                  </a:cubicBezTo>
                  <a:lnTo>
                    <a:pt x="460233" y="920393"/>
                  </a:lnTo>
                  <a:cubicBezTo>
                    <a:pt x="206053" y="920393"/>
                    <a:pt x="0" y="714339"/>
                    <a:pt x="0" y="460159"/>
                  </a:cubicBezTo>
                  <a:lnTo>
                    <a:pt x="0" y="460233"/>
                  </a:lnTo>
                  <a:cubicBezTo>
                    <a:pt x="0" y="206054"/>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5" name="Freeform: Shape 24">
              <a:extLst>
                <a:ext uri="{FF2B5EF4-FFF2-40B4-BE49-F238E27FC236}">
                  <a16:creationId xmlns:a16="http://schemas.microsoft.com/office/drawing/2014/main" id="{B1CA37FA-E05D-BBA4-0924-E5B6CE13357E}"/>
                </a:ext>
              </a:extLst>
            </p:cNvPr>
            <p:cNvSpPr/>
            <p:nvPr/>
          </p:nvSpPr>
          <p:spPr>
            <a:xfrm>
              <a:off x="-1332291" y="6648289"/>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6" name="Freeform: Shape 25">
              <a:extLst>
                <a:ext uri="{FF2B5EF4-FFF2-40B4-BE49-F238E27FC236}">
                  <a16:creationId xmlns:a16="http://schemas.microsoft.com/office/drawing/2014/main" id="{88C4B006-C207-FFD1-7D5E-2BCAFC191975}"/>
                </a:ext>
              </a:extLst>
            </p:cNvPr>
            <p:cNvSpPr/>
            <p:nvPr/>
          </p:nvSpPr>
          <p:spPr>
            <a:xfrm rot="16200000">
              <a:off x="-2625657" y="6275316"/>
              <a:ext cx="1666338" cy="920392"/>
            </a:xfrm>
            <a:custGeom>
              <a:avLst/>
              <a:gdLst>
                <a:gd name="connsiteX0" fmla="*/ 1206106 w 1666338"/>
                <a:gd name="connsiteY0" fmla="*/ 0 h 920392"/>
                <a:gd name="connsiteX1" fmla="*/ 1666339 w 1666338"/>
                <a:gd name="connsiteY1" fmla="*/ 460233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3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3"/>
                  </a:cubicBezTo>
                  <a:lnTo>
                    <a:pt x="1666339" y="460159"/>
                  </a:lnTo>
                  <a:cubicBezTo>
                    <a:pt x="1666339" y="714339"/>
                    <a:pt x="1460285" y="920393"/>
                    <a:pt x="1206106" y="920393"/>
                  </a:cubicBezTo>
                  <a:lnTo>
                    <a:pt x="460233" y="920393"/>
                  </a:lnTo>
                  <a:cubicBezTo>
                    <a:pt x="206053" y="920393"/>
                    <a:pt x="0" y="714339"/>
                    <a:pt x="0" y="460159"/>
                  </a:cubicBezTo>
                  <a:lnTo>
                    <a:pt x="0" y="460233"/>
                  </a:lnTo>
                  <a:cubicBezTo>
                    <a:pt x="0" y="206054"/>
                    <a:pt x="206053" y="0"/>
                    <a:pt x="460233" y="0"/>
                  </a:cubicBezTo>
                  <a:close/>
                </a:path>
              </a:pathLst>
            </a:custGeom>
            <a:gradFill>
              <a:gsLst>
                <a:gs pos="0">
                  <a:srgbClr val="130B3F"/>
                </a:gs>
                <a:gs pos="11000">
                  <a:srgbClr val="191A48"/>
                </a:gs>
                <a:gs pos="32000">
                  <a:srgbClr val="2A4360"/>
                </a:gs>
                <a:gs pos="61000">
                  <a:srgbClr val="458588"/>
                </a:gs>
                <a:gs pos="96000">
                  <a:srgbClr val="69DFBD"/>
                </a:gs>
                <a:gs pos="100000">
                  <a:srgbClr val="6EEAC4"/>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7" name="Freeform: Shape 26">
              <a:extLst>
                <a:ext uri="{FF2B5EF4-FFF2-40B4-BE49-F238E27FC236}">
                  <a16:creationId xmlns:a16="http://schemas.microsoft.com/office/drawing/2014/main" id="{44342DBC-543F-A8A9-8804-2A87D9DA9EFA}"/>
                </a:ext>
              </a:extLst>
            </p:cNvPr>
            <p:cNvSpPr/>
            <p:nvPr/>
          </p:nvSpPr>
          <p:spPr>
            <a:xfrm>
              <a:off x="-2249355" y="5902343"/>
              <a:ext cx="920466" cy="920466"/>
            </a:xfrm>
            <a:custGeom>
              <a:avLst/>
              <a:gdLst>
                <a:gd name="connsiteX0" fmla="*/ 920467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7"/>
                    <a:pt x="460233" y="920467"/>
                  </a:cubicBezTo>
                  <a:cubicBezTo>
                    <a:pt x="206053" y="920467"/>
                    <a:pt x="0" y="714413"/>
                    <a:pt x="0" y="460233"/>
                  </a:cubicBezTo>
                  <a:cubicBezTo>
                    <a:pt x="0" y="206054"/>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8" name="Freeform: Shape 27">
              <a:extLst>
                <a:ext uri="{FF2B5EF4-FFF2-40B4-BE49-F238E27FC236}">
                  <a16:creationId xmlns:a16="http://schemas.microsoft.com/office/drawing/2014/main" id="{2F9A21E2-93C4-EF96-F88C-C69F3E89C47D}"/>
                </a:ext>
              </a:extLst>
            </p:cNvPr>
            <p:cNvSpPr/>
            <p:nvPr/>
          </p:nvSpPr>
          <p:spPr>
            <a:xfrm>
              <a:off x="-2055673" y="3191029"/>
              <a:ext cx="920466" cy="920466"/>
            </a:xfrm>
            <a:custGeom>
              <a:avLst/>
              <a:gdLst>
                <a:gd name="connsiteX0" fmla="*/ 920466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6"/>
                    <a:pt x="460233" y="920466"/>
                  </a:cubicBezTo>
                  <a:cubicBezTo>
                    <a:pt x="206053" y="920466"/>
                    <a:pt x="0" y="714413"/>
                    <a:pt x="0" y="460233"/>
                  </a:cubicBezTo>
                  <a:cubicBezTo>
                    <a:pt x="0" y="206053"/>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29" name="Freeform: Shape 28">
              <a:extLst>
                <a:ext uri="{FF2B5EF4-FFF2-40B4-BE49-F238E27FC236}">
                  <a16:creationId xmlns:a16="http://schemas.microsoft.com/office/drawing/2014/main" id="{A4C5232E-9DFD-3B3E-A3CF-ADE7F35CE79C}"/>
                </a:ext>
              </a:extLst>
            </p:cNvPr>
            <p:cNvSpPr/>
            <p:nvPr/>
          </p:nvSpPr>
          <p:spPr>
            <a:xfrm>
              <a:off x="-2972737" y="3191029"/>
              <a:ext cx="920466" cy="920466"/>
            </a:xfrm>
            <a:custGeom>
              <a:avLst/>
              <a:gdLst>
                <a:gd name="connsiteX0" fmla="*/ 920467 w 920466"/>
                <a:gd name="connsiteY0" fmla="*/ 460233 h 920466"/>
                <a:gd name="connsiteX1" fmla="*/ 460233 w 920466"/>
                <a:gd name="connsiteY1" fmla="*/ 920466 h 920466"/>
                <a:gd name="connsiteX2" fmla="*/ 0 w 920466"/>
                <a:gd name="connsiteY2" fmla="*/ 460233 h 920466"/>
                <a:gd name="connsiteX3" fmla="*/ 460233 w 920466"/>
                <a:gd name="connsiteY3" fmla="*/ 0 h 920466"/>
                <a:gd name="connsiteX4" fmla="*/ 920467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7" y="460233"/>
                  </a:moveTo>
                  <a:cubicBezTo>
                    <a:pt x="920467" y="714413"/>
                    <a:pt x="714413" y="920466"/>
                    <a:pt x="460233" y="920466"/>
                  </a:cubicBezTo>
                  <a:cubicBezTo>
                    <a:pt x="206053" y="920466"/>
                    <a:pt x="0" y="714413"/>
                    <a:pt x="0" y="460233"/>
                  </a:cubicBezTo>
                  <a:cubicBezTo>
                    <a:pt x="0" y="206053"/>
                    <a:pt x="206053" y="0"/>
                    <a:pt x="460233" y="0"/>
                  </a:cubicBezTo>
                  <a:cubicBezTo>
                    <a:pt x="714413" y="0"/>
                    <a:pt x="920467" y="206053"/>
                    <a:pt x="920467"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30" name="Freeform: Shape 29">
              <a:extLst>
                <a:ext uri="{FF2B5EF4-FFF2-40B4-BE49-F238E27FC236}">
                  <a16:creationId xmlns:a16="http://schemas.microsoft.com/office/drawing/2014/main" id="{EE1A87EC-7FA0-AB16-D7AB-58663762D703}"/>
                </a:ext>
              </a:extLst>
            </p:cNvPr>
            <p:cNvSpPr/>
            <p:nvPr/>
          </p:nvSpPr>
          <p:spPr>
            <a:xfrm rot="5400000">
              <a:off x="-4006282" y="4584638"/>
              <a:ext cx="1666338" cy="920392"/>
            </a:xfrm>
            <a:custGeom>
              <a:avLst/>
              <a:gdLst>
                <a:gd name="connsiteX0" fmla="*/ 1206106 w 1666338"/>
                <a:gd name="connsiteY0" fmla="*/ 0 h 920392"/>
                <a:gd name="connsiteX1" fmla="*/ 1666339 w 1666338"/>
                <a:gd name="connsiteY1" fmla="*/ 460234 h 920392"/>
                <a:gd name="connsiteX2" fmla="*/ 1666339 w 1666338"/>
                <a:gd name="connsiteY2" fmla="*/ 460159 h 920392"/>
                <a:gd name="connsiteX3" fmla="*/ 1206106 w 1666338"/>
                <a:gd name="connsiteY3" fmla="*/ 920393 h 920392"/>
                <a:gd name="connsiteX4" fmla="*/ 460233 w 1666338"/>
                <a:gd name="connsiteY4" fmla="*/ 920393 h 920392"/>
                <a:gd name="connsiteX5" fmla="*/ 0 w 1666338"/>
                <a:gd name="connsiteY5" fmla="*/ 460159 h 920392"/>
                <a:gd name="connsiteX6" fmla="*/ 0 w 1666338"/>
                <a:gd name="connsiteY6" fmla="*/ 460234 h 920392"/>
                <a:gd name="connsiteX7" fmla="*/ 460233 w 1666338"/>
                <a:gd name="connsiteY7" fmla="*/ 0 h 9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338" h="920392">
                  <a:moveTo>
                    <a:pt x="1206106" y="0"/>
                  </a:moveTo>
                  <a:cubicBezTo>
                    <a:pt x="1460285" y="0"/>
                    <a:pt x="1666339" y="206053"/>
                    <a:pt x="1666339" y="460234"/>
                  </a:cubicBezTo>
                  <a:lnTo>
                    <a:pt x="1666339" y="460159"/>
                  </a:lnTo>
                  <a:cubicBezTo>
                    <a:pt x="1666339" y="714339"/>
                    <a:pt x="1460285" y="920393"/>
                    <a:pt x="1206106" y="920393"/>
                  </a:cubicBezTo>
                  <a:lnTo>
                    <a:pt x="460233" y="920393"/>
                  </a:lnTo>
                  <a:cubicBezTo>
                    <a:pt x="206053" y="920393"/>
                    <a:pt x="0" y="714339"/>
                    <a:pt x="0" y="460159"/>
                  </a:cubicBezTo>
                  <a:lnTo>
                    <a:pt x="0" y="460234"/>
                  </a:lnTo>
                  <a:cubicBezTo>
                    <a:pt x="0" y="206054"/>
                    <a:pt x="206053" y="0"/>
                    <a:pt x="460233" y="0"/>
                  </a:cubicBezTo>
                  <a:close/>
                </a:path>
              </a:pathLst>
            </a:custGeom>
            <a:gradFill>
              <a:gsLst>
                <a:gs pos="0">
                  <a:srgbClr val="130B3F"/>
                </a:gs>
                <a:gs pos="12000">
                  <a:srgbClr val="151044"/>
                </a:gs>
                <a:gs pos="27000">
                  <a:srgbClr val="1A1F53"/>
                </a:gs>
                <a:gs pos="43000">
                  <a:srgbClr val="24386C"/>
                </a:gs>
                <a:gs pos="60000">
                  <a:srgbClr val="325B8E"/>
                </a:gs>
                <a:gs pos="79000">
                  <a:srgbClr val="4389BB"/>
                </a:gs>
                <a:gs pos="97000">
                  <a:srgbClr val="58BFF0"/>
                </a:gs>
                <a:gs pos="100000">
                  <a:srgbClr val="5CC8F9"/>
                </a:gs>
              </a:gsLst>
              <a:lin ang="0" scaled="1"/>
            </a:gra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31" name="Freeform: Shape 30">
              <a:extLst>
                <a:ext uri="{FF2B5EF4-FFF2-40B4-BE49-F238E27FC236}">
                  <a16:creationId xmlns:a16="http://schemas.microsoft.com/office/drawing/2014/main" id="{0C601C84-B052-D8A7-105C-A9C65E32CC8C}"/>
                </a:ext>
              </a:extLst>
            </p:cNvPr>
            <p:cNvSpPr/>
            <p:nvPr/>
          </p:nvSpPr>
          <p:spPr>
            <a:xfrm>
              <a:off x="-3636639"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5CC8F9"/>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sp>
          <p:nvSpPr>
            <p:cNvPr id="32" name="Freeform: Shape 31">
              <a:extLst>
                <a:ext uri="{FF2B5EF4-FFF2-40B4-BE49-F238E27FC236}">
                  <a16:creationId xmlns:a16="http://schemas.microsoft.com/office/drawing/2014/main" id="{9C6E5C72-8486-1E66-04A7-D91B736D0636}"/>
                </a:ext>
              </a:extLst>
            </p:cNvPr>
            <p:cNvSpPr/>
            <p:nvPr/>
          </p:nvSpPr>
          <p:spPr>
            <a:xfrm>
              <a:off x="-2712917" y="4957611"/>
              <a:ext cx="920466" cy="920466"/>
            </a:xfrm>
            <a:custGeom>
              <a:avLst/>
              <a:gdLst>
                <a:gd name="connsiteX0" fmla="*/ 920466 w 920466"/>
                <a:gd name="connsiteY0" fmla="*/ 460233 h 920466"/>
                <a:gd name="connsiteX1" fmla="*/ 460233 w 920466"/>
                <a:gd name="connsiteY1" fmla="*/ 920467 h 920466"/>
                <a:gd name="connsiteX2" fmla="*/ 0 w 920466"/>
                <a:gd name="connsiteY2" fmla="*/ 460233 h 920466"/>
                <a:gd name="connsiteX3" fmla="*/ 460233 w 920466"/>
                <a:gd name="connsiteY3" fmla="*/ 0 h 920466"/>
                <a:gd name="connsiteX4" fmla="*/ 920466 w 920466"/>
                <a:gd name="connsiteY4" fmla="*/ 460233 h 92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466" h="920466">
                  <a:moveTo>
                    <a:pt x="920466" y="460233"/>
                  </a:moveTo>
                  <a:cubicBezTo>
                    <a:pt x="920466" y="714413"/>
                    <a:pt x="714413" y="920467"/>
                    <a:pt x="460233" y="920467"/>
                  </a:cubicBezTo>
                  <a:cubicBezTo>
                    <a:pt x="206053" y="920467"/>
                    <a:pt x="0" y="714413"/>
                    <a:pt x="0" y="460233"/>
                  </a:cubicBezTo>
                  <a:cubicBezTo>
                    <a:pt x="0" y="206054"/>
                    <a:pt x="206053" y="0"/>
                    <a:pt x="460233" y="0"/>
                  </a:cubicBezTo>
                  <a:cubicBezTo>
                    <a:pt x="714413" y="0"/>
                    <a:pt x="920466" y="206053"/>
                    <a:pt x="920466" y="460233"/>
                  </a:cubicBezTo>
                  <a:close/>
                </a:path>
              </a:pathLst>
            </a:custGeom>
            <a:solidFill>
              <a:srgbClr val="6EEAC4"/>
            </a:solidFill>
            <a:ln w="7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3A42"/>
                </a:solidFill>
                <a:effectLst/>
                <a:uLnTx/>
                <a:uFillTx/>
                <a:latin typeface="Noto Sans"/>
                <a:ea typeface="+mn-ea"/>
                <a:cs typeface="+mn-cs"/>
              </a:endParaRPr>
            </a:p>
          </p:txBody>
        </p:sp>
      </p:grpSp>
      <p:sp>
        <p:nvSpPr>
          <p:cNvPr id="34" name="Title 1">
            <a:extLst>
              <a:ext uri="{FF2B5EF4-FFF2-40B4-BE49-F238E27FC236}">
                <a16:creationId xmlns:a16="http://schemas.microsoft.com/office/drawing/2014/main" id="{88E0F4A3-D638-A7B8-4A93-B69D33864EF9}"/>
              </a:ext>
            </a:extLst>
          </p:cNvPr>
          <p:cNvSpPr>
            <a:spLocks noGrp="1"/>
          </p:cNvSpPr>
          <p:nvPr>
            <p:ph type="title" hasCustomPrompt="1"/>
          </p:nvPr>
        </p:nvSpPr>
        <p:spPr bwMode="white">
          <a:xfrm>
            <a:off x="560269" y="3381727"/>
            <a:ext cx="5419102" cy="2079273"/>
          </a:xfrm>
          <a:prstGeom prst="rect">
            <a:avLst/>
          </a:prstGeom>
        </p:spPr>
        <p:txBody>
          <a:bodyPr vert="horz" anchor="t" anchorCtr="0"/>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Divider title are 44pt </a:t>
            </a:r>
            <a:br>
              <a:rPr lang="en-US"/>
            </a:br>
            <a:r>
              <a:rPr lang="en-US"/>
              <a:t>Noto Sans Light sentence case</a:t>
            </a:r>
          </a:p>
        </p:txBody>
      </p:sp>
      <p:sp>
        <p:nvSpPr>
          <p:cNvPr id="38" name="Subtitle 2">
            <a:extLst>
              <a:ext uri="{FF2B5EF4-FFF2-40B4-BE49-F238E27FC236}">
                <a16:creationId xmlns:a16="http://schemas.microsoft.com/office/drawing/2014/main" id="{07C91505-163B-33AB-6F26-775FAE512906}"/>
              </a:ext>
            </a:extLst>
          </p:cNvPr>
          <p:cNvSpPr>
            <a:spLocks noGrp="1"/>
          </p:cNvSpPr>
          <p:nvPr>
            <p:ph type="subTitle" idx="1" hasCustomPrompt="1"/>
          </p:nvPr>
        </p:nvSpPr>
        <p:spPr>
          <a:xfrm>
            <a:off x="560269" y="2828904"/>
            <a:ext cx="1841636" cy="325776"/>
          </a:xfrm>
          <a:prstGeom prst="rect">
            <a:avLst/>
          </a:prstGeom>
        </p:spPr>
        <p:txBody>
          <a:bodyPr anchor="ctr">
            <a:noAutofit/>
          </a:bodyPr>
          <a:lstStyle>
            <a:lvl1pPr marL="0" indent="0" algn="l">
              <a:lnSpc>
                <a:spcPct val="100000"/>
              </a:lnSpc>
              <a:spcBef>
                <a:spcPts val="200"/>
              </a:spcBef>
              <a:buNone/>
              <a:defRPr sz="1200" b="1" cap="all" baseline="0">
                <a:solidFill>
                  <a:srgbClr val="00CC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YEBROW </a:t>
            </a:r>
            <a:r>
              <a:rPr lang="en-US" err="1"/>
              <a:t>HeRE</a:t>
            </a:r>
            <a:endParaRPr lang="en-US"/>
          </a:p>
        </p:txBody>
      </p:sp>
      <p:pic>
        <p:nvPicPr>
          <p:cNvPr id="41" name="Graphic 40">
            <a:extLst>
              <a:ext uri="{FF2B5EF4-FFF2-40B4-BE49-F238E27FC236}">
                <a16:creationId xmlns:a16="http://schemas.microsoft.com/office/drawing/2014/main" id="{05880F7E-2EF9-500F-8C65-8AE5422B47D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10042" y="611533"/>
            <a:ext cx="2212298" cy="399963"/>
          </a:xfrm>
          <a:prstGeom prst="rect">
            <a:avLst/>
          </a:prstGeom>
        </p:spPr>
      </p:pic>
    </p:spTree>
    <p:extLst>
      <p:ext uri="{BB962C8B-B14F-4D97-AF65-F5344CB8AC3E}">
        <p14:creationId xmlns:p14="http://schemas.microsoft.com/office/powerpoint/2010/main" val="327302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2026-01 - IQVI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0FB1EB-886A-6250-1720-BF969FB7A49D}"/>
              </a:ext>
            </a:extLst>
          </p:cNvPr>
          <p:cNvGraphicFramePr>
            <a:graphicFrameLocks noChangeAspect="1"/>
          </p:cNvGraphicFramePr>
          <p:nvPr userDrawn="1">
            <p:custDataLst>
              <p:tags r:id="rId1"/>
            </p:custDataLst>
            <p:extLst>
              <p:ext uri="{D42A27DB-BD31-4B8C-83A1-F6EECF244321}">
                <p14:modId xmlns:p14="http://schemas.microsoft.com/office/powerpoint/2010/main" val="392938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A0FB1EB-886A-6250-1720-BF969FB7A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FA43C2D8-91E1-D523-C303-80C76AB672E2}"/>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sp>
        <p:nvSpPr>
          <p:cNvPr id="26" name="Picture Placeholder 25">
            <a:extLst>
              <a:ext uri="{FF2B5EF4-FFF2-40B4-BE49-F238E27FC236}">
                <a16:creationId xmlns:a16="http://schemas.microsoft.com/office/drawing/2014/main" id="{C5206E26-8F1D-9E77-06A9-3E52BE359D6E}"/>
              </a:ext>
            </a:extLst>
          </p:cNvPr>
          <p:cNvSpPr>
            <a:spLocks noGrp="1"/>
          </p:cNvSpPr>
          <p:nvPr>
            <p:ph type="pic" sz="quarter" idx="14" hasCustomPrompt="1"/>
          </p:nvPr>
        </p:nvSpPr>
        <p:spPr>
          <a:xfrm>
            <a:off x="9231744" y="480060"/>
            <a:ext cx="2960256" cy="5891813"/>
          </a:xfrm>
          <a:custGeom>
            <a:avLst/>
            <a:gdLst>
              <a:gd name="connsiteX0" fmla="*/ 2945906 w 2960256"/>
              <a:gd name="connsiteY0" fmla="*/ 0 h 5891813"/>
              <a:gd name="connsiteX1" fmla="*/ 2960256 w 2960256"/>
              <a:gd name="connsiteY1" fmla="*/ 0 h 5891813"/>
              <a:gd name="connsiteX2" fmla="*/ 2960256 w 2960256"/>
              <a:gd name="connsiteY2" fmla="*/ 5891813 h 5891813"/>
              <a:gd name="connsiteX3" fmla="*/ 2945907 w 2960256"/>
              <a:gd name="connsiteY3" fmla="*/ 5891813 h 5891813"/>
              <a:gd name="connsiteX4" fmla="*/ 1 w 2960256"/>
              <a:gd name="connsiteY4" fmla="*/ 2945907 h 5891813"/>
              <a:gd name="connsiteX5" fmla="*/ 0 w 2960256"/>
              <a:gd name="connsiteY5" fmla="*/ 2945907 h 5891813"/>
              <a:gd name="connsiteX6" fmla="*/ 2945906 w 2960256"/>
              <a:gd name="connsiteY6" fmla="*/ 0 h 58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256" h="5891813">
                <a:moveTo>
                  <a:pt x="2945906" y="0"/>
                </a:moveTo>
                <a:lnTo>
                  <a:pt x="2960256" y="0"/>
                </a:lnTo>
                <a:lnTo>
                  <a:pt x="2960256" y="5891813"/>
                </a:lnTo>
                <a:lnTo>
                  <a:pt x="2945907" y="5891813"/>
                </a:lnTo>
                <a:cubicBezTo>
                  <a:pt x="1318928" y="5891813"/>
                  <a:pt x="1" y="4572886"/>
                  <a:pt x="1" y="2945907"/>
                </a:cubicBezTo>
                <a:lnTo>
                  <a:pt x="0" y="2945907"/>
                </a:lnTo>
                <a:cubicBezTo>
                  <a:pt x="0" y="1318927"/>
                  <a:pt x="1318927" y="0"/>
                  <a:pt x="2945906" y="0"/>
                </a:cubicBezTo>
                <a:close/>
              </a:path>
            </a:pathLst>
          </a:custGeom>
          <a:blipFill>
            <a:blip r:embed="rId6"/>
            <a:stretch>
              <a:fillRect/>
            </a:stretch>
          </a:blip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1" kern="1200" dirty="0" smtClean="0">
                <a:solidFill>
                  <a:srgbClr val="DA291C"/>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add image</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729468" y="2705249"/>
            <a:ext cx="8109732" cy="1441434"/>
          </a:xfrm>
          <a:prstGeom prst="rect">
            <a:avLst/>
          </a:prstGeom>
          <a:noFill/>
        </p:spPr>
        <p:txBody>
          <a:bodyPr vert="horz" anchor="ctr" anchorCtr="0">
            <a:noAutofit/>
          </a:bodyPr>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Closing slides are 44pt Noto Sans Light sentence case</a:t>
            </a:r>
          </a:p>
        </p:txBody>
      </p:sp>
      <p:pic>
        <p:nvPicPr>
          <p:cNvPr id="4" name="Graphic 3">
            <a:extLst>
              <a:ext uri="{FF2B5EF4-FFF2-40B4-BE49-F238E27FC236}">
                <a16:creationId xmlns:a16="http://schemas.microsoft.com/office/drawing/2014/main" id="{A8AC6ABD-4638-0FE9-9EFB-87A913DE552B}"/>
              </a:ext>
            </a:extLst>
          </p:cNvPr>
          <p:cNvPicPr>
            <a:picLocks/>
          </p:cNvPicPr>
          <p:nvPr userDrawn="1"/>
        </p:nvPicPr>
        <p:blipFill>
          <a:blip>
            <a:extLst>
              <a:ext uri="{96DAC541-7B7A-43D3-8B79-37D633B846F1}">
                <asvg:svgBlip xmlns:asvg="http://schemas.microsoft.com/office/drawing/2016/SVG/main" r:embed="rId7"/>
              </a:ext>
            </a:extLst>
          </a:blip>
          <a:stretch>
            <a:fillRect/>
          </a:stretch>
        </p:blipFill>
        <p:spPr>
          <a:xfrm>
            <a:off x="710042" y="5757573"/>
            <a:ext cx="2212298" cy="399963"/>
          </a:xfrm>
          <a:prstGeom prst="rect">
            <a:avLst/>
          </a:prstGeom>
        </p:spPr>
      </p:pic>
    </p:spTree>
    <p:extLst>
      <p:ext uri="{BB962C8B-B14F-4D97-AF65-F5344CB8AC3E}">
        <p14:creationId xmlns:p14="http://schemas.microsoft.com/office/powerpoint/2010/main" val="11119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2026-02 - IQVIA">
    <p:bg>
      <p:bgPr>
        <a:solidFill>
          <a:srgbClr val="2B3A4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0FB1EB-886A-6250-1720-BF969FB7A49D}"/>
              </a:ext>
            </a:extLst>
          </p:cNvPr>
          <p:cNvGraphicFramePr>
            <a:graphicFrameLocks noChangeAspect="1"/>
          </p:cNvGraphicFramePr>
          <p:nvPr userDrawn="1">
            <p:custDataLst>
              <p:tags r:id="rId1"/>
            </p:custDataLst>
            <p:extLst>
              <p:ext uri="{D42A27DB-BD31-4B8C-83A1-F6EECF244321}">
                <p14:modId xmlns:p14="http://schemas.microsoft.com/office/powerpoint/2010/main" val="3219584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A0FB1EB-886A-6250-1720-BF969FB7A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DFA0D13-DE2C-0B2E-321B-37575593958C}"/>
              </a:ext>
            </a:extLst>
          </p:cNvPr>
          <p:cNvSpPr/>
          <p:nvPr userDrawn="1"/>
        </p:nvSpPr>
        <p:spPr>
          <a:xfrm>
            <a:off x="0" y="0"/>
            <a:ext cx="12192000" cy="6858000"/>
          </a:xfrm>
          <a:prstGeom prst="rect">
            <a:avLst/>
          </a:prstGeom>
          <a:solidFill>
            <a:schemeClr val="tx2"/>
          </a:solid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729468" y="2367171"/>
            <a:ext cx="6471432" cy="2123658"/>
          </a:xfrm>
          <a:prstGeom prst="rect">
            <a:avLst/>
          </a:prstGeom>
          <a:noFill/>
        </p:spPr>
        <p:txBody>
          <a:bodyPr vert="horz" anchor="ctr" anchorCtr="0">
            <a:noAutofit/>
          </a:bodyPr>
          <a:lstStyle>
            <a:lvl1pPr>
              <a:lnSpc>
                <a:spcPct val="100000"/>
              </a:lnSpc>
              <a:defRPr sz="4400" b="0">
                <a:solidFill>
                  <a:schemeClr val="bg1"/>
                </a:solidFill>
                <a:latin typeface="Noto Sans Light" panose="020B0502040504020204" pitchFamily="34" charset="0"/>
                <a:ea typeface="Noto Sans Light" panose="020B0502040504020204" pitchFamily="34" charset="0"/>
                <a:cs typeface="Noto Sans Light" panose="020B0502040504020204" pitchFamily="34" charset="0"/>
              </a:defRPr>
            </a:lvl1pPr>
          </a:lstStyle>
          <a:p>
            <a:r>
              <a:rPr lang="en-US"/>
              <a:t>Closing slides are </a:t>
            </a:r>
            <a:br>
              <a:rPr lang="en-US"/>
            </a:br>
            <a:r>
              <a:rPr lang="en-US"/>
              <a:t>44pt Noto Sans Light sentence case</a:t>
            </a:r>
          </a:p>
        </p:txBody>
      </p:sp>
      <p:pic>
        <p:nvPicPr>
          <p:cNvPr id="5" name="Graphic 4">
            <a:extLst>
              <a:ext uri="{FF2B5EF4-FFF2-40B4-BE49-F238E27FC236}">
                <a16:creationId xmlns:a16="http://schemas.microsoft.com/office/drawing/2014/main" id="{FE7BBED7-1DCF-E62E-3826-549F8362CD9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360095" y="5909973"/>
            <a:ext cx="2212298" cy="399963"/>
          </a:xfrm>
          <a:prstGeom prst="rect">
            <a:avLst/>
          </a:prstGeom>
        </p:spPr>
      </p:pic>
      <p:sp>
        <p:nvSpPr>
          <p:cNvPr id="13" name="Rectangle: Top Corners Rounded 12">
            <a:extLst>
              <a:ext uri="{FF2B5EF4-FFF2-40B4-BE49-F238E27FC236}">
                <a16:creationId xmlns:a16="http://schemas.microsoft.com/office/drawing/2014/main" id="{0E99BEF8-B37E-D639-B8AE-389ED1C2F410}"/>
              </a:ext>
            </a:extLst>
          </p:cNvPr>
          <p:cNvSpPr/>
          <p:nvPr userDrawn="1"/>
        </p:nvSpPr>
        <p:spPr>
          <a:xfrm rot="16200000" flipH="1">
            <a:off x="9687544" y="2143688"/>
            <a:ext cx="2514566" cy="2494346"/>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17" name="Freeform: Shape 16">
            <a:extLst>
              <a:ext uri="{FF2B5EF4-FFF2-40B4-BE49-F238E27FC236}">
                <a16:creationId xmlns:a16="http://schemas.microsoft.com/office/drawing/2014/main" id="{57E1F127-38D3-D9EB-971C-A039C20BDB56}"/>
              </a:ext>
            </a:extLst>
          </p:cNvPr>
          <p:cNvSpPr/>
          <p:nvPr userDrawn="1"/>
        </p:nvSpPr>
        <p:spPr>
          <a:xfrm flipH="1">
            <a:off x="8321628" y="0"/>
            <a:ext cx="3867268" cy="3850111"/>
          </a:xfrm>
          <a:custGeom>
            <a:avLst/>
            <a:gdLst>
              <a:gd name="connsiteX0" fmla="*/ 3867268 w 3867268"/>
              <a:gd name="connsiteY0" fmla="*/ 0 h 3850111"/>
              <a:gd name="connsiteX1" fmla="*/ 0 w 3867268"/>
              <a:gd name="connsiteY1" fmla="*/ 0 h 3850111"/>
              <a:gd name="connsiteX2" fmla="*/ 0 w 3867268"/>
              <a:gd name="connsiteY2" fmla="*/ 457200 h 3850111"/>
              <a:gd name="connsiteX3" fmla="*/ 0 w 3867268"/>
              <a:gd name="connsiteY3" fmla="*/ 1672128 h 3850111"/>
              <a:gd name="connsiteX4" fmla="*/ 0 w 3867268"/>
              <a:gd name="connsiteY4" fmla="*/ 2129328 h 3850111"/>
              <a:gd name="connsiteX5" fmla="*/ 26183 w 3867268"/>
              <a:gd name="connsiteY5" fmla="*/ 2300888 h 3850111"/>
              <a:gd name="connsiteX6" fmla="*/ 1927016 w 3867268"/>
              <a:gd name="connsiteY6" fmla="*/ 3850111 h 3850111"/>
              <a:gd name="connsiteX7" fmla="*/ 3867268 w 3867268"/>
              <a:gd name="connsiteY7" fmla="*/ 1909860 h 3850111"/>
              <a:gd name="connsiteX8" fmla="*/ 3867268 w 3867268"/>
              <a:gd name="connsiteY8" fmla="*/ 1452659 h 3850111"/>
              <a:gd name="connsiteX9" fmla="*/ 3867268 w 3867268"/>
              <a:gd name="connsiteY9" fmla="*/ 457200 h 385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7268" h="3850111">
                <a:moveTo>
                  <a:pt x="3867268" y="0"/>
                </a:moveTo>
                <a:lnTo>
                  <a:pt x="0" y="0"/>
                </a:lnTo>
                <a:lnTo>
                  <a:pt x="0" y="457200"/>
                </a:lnTo>
                <a:lnTo>
                  <a:pt x="0" y="1672128"/>
                </a:lnTo>
                <a:lnTo>
                  <a:pt x="0" y="2129328"/>
                </a:lnTo>
                <a:lnTo>
                  <a:pt x="26183" y="2300888"/>
                </a:lnTo>
                <a:cubicBezTo>
                  <a:pt x="207105" y="3185028"/>
                  <a:pt x="989391" y="3850111"/>
                  <a:pt x="1927016" y="3850111"/>
                </a:cubicBezTo>
                <a:cubicBezTo>
                  <a:pt x="2998588" y="3850111"/>
                  <a:pt x="3867268" y="2981431"/>
                  <a:pt x="3867268" y="1909860"/>
                </a:cubicBezTo>
                <a:lnTo>
                  <a:pt x="3867268" y="1452659"/>
                </a:lnTo>
                <a:lnTo>
                  <a:pt x="3867268" y="457200"/>
                </a:lnTo>
                <a:close/>
              </a:path>
            </a:pathLst>
          </a:custGeom>
          <a:gradFill>
            <a:gsLst>
              <a:gs pos="75000">
                <a:srgbClr val="140A42"/>
              </a:gs>
              <a:gs pos="0">
                <a:srgbClr val="00CCFF"/>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
        <p:nvSpPr>
          <p:cNvPr id="15" name="Freeform: Shape 14">
            <a:extLst>
              <a:ext uri="{FF2B5EF4-FFF2-40B4-BE49-F238E27FC236}">
                <a16:creationId xmlns:a16="http://schemas.microsoft.com/office/drawing/2014/main" id="{E50B38AA-2B30-B9A6-A77B-73C8C2812053}"/>
              </a:ext>
            </a:extLst>
          </p:cNvPr>
          <p:cNvSpPr/>
          <p:nvPr userDrawn="1"/>
        </p:nvSpPr>
        <p:spPr>
          <a:xfrm rot="16200000" flipH="1">
            <a:off x="10086560" y="1744672"/>
            <a:ext cx="1716534" cy="2494346"/>
          </a:xfrm>
          <a:custGeom>
            <a:avLst/>
            <a:gdLst>
              <a:gd name="connsiteX0" fmla="*/ 0 w 2808911"/>
              <a:gd name="connsiteY0" fmla="*/ 4081711 h 4081711"/>
              <a:gd name="connsiteX1" fmla="*/ 0 w 2808911"/>
              <a:gd name="connsiteY1" fmla="*/ 2051686 h 4081711"/>
              <a:gd name="connsiteX2" fmla="*/ 2051686 w 2808911"/>
              <a:gd name="connsiteY2" fmla="*/ 0 h 4081711"/>
              <a:gd name="connsiteX3" fmla="*/ 2063115 w 2808911"/>
              <a:gd name="connsiteY3" fmla="*/ 0 h 4081711"/>
              <a:gd name="connsiteX4" fmla="*/ 2673224 w 2808911"/>
              <a:gd name="connsiteY4" fmla="*/ 92240 h 4081711"/>
              <a:gd name="connsiteX5" fmla="*/ 2699582 w 2808911"/>
              <a:gd name="connsiteY5" fmla="*/ 101887 h 4081711"/>
              <a:gd name="connsiteX6" fmla="*/ 2708954 w 2808911"/>
              <a:gd name="connsiteY6" fmla="*/ 134890 h 4081711"/>
              <a:gd name="connsiteX7" fmla="*/ 2808911 w 2808911"/>
              <a:gd name="connsiteY7" fmla="*/ 928372 h 4081711"/>
              <a:gd name="connsiteX8" fmla="*/ 117432 w 2808911"/>
              <a:gd name="connsiteY8" fmla="*/ 4066789 h 4081711"/>
              <a:gd name="connsiteX9" fmla="*/ 0 w 2808911"/>
              <a:gd name="connsiteY9" fmla="*/ 4081711 h 408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8911" h="4081711">
                <a:moveTo>
                  <a:pt x="0" y="4081711"/>
                </a:moveTo>
                <a:lnTo>
                  <a:pt x="0" y="2051686"/>
                </a:lnTo>
                <a:cubicBezTo>
                  <a:pt x="0" y="918571"/>
                  <a:pt x="918572" y="-1"/>
                  <a:pt x="2051686" y="0"/>
                </a:cubicBezTo>
                <a:lnTo>
                  <a:pt x="2063115" y="0"/>
                </a:lnTo>
                <a:cubicBezTo>
                  <a:pt x="2275574" y="0"/>
                  <a:pt x="2480491" y="32293"/>
                  <a:pt x="2673224" y="92240"/>
                </a:cubicBezTo>
                <a:lnTo>
                  <a:pt x="2699582" y="101887"/>
                </a:lnTo>
                <a:lnTo>
                  <a:pt x="2708954" y="134890"/>
                </a:lnTo>
                <a:cubicBezTo>
                  <a:pt x="2774207" y="388507"/>
                  <a:pt x="2808911" y="654387"/>
                  <a:pt x="2808911" y="928372"/>
                </a:cubicBezTo>
                <a:cubicBezTo>
                  <a:pt x="2808911" y="2517485"/>
                  <a:pt x="1641452" y="3833923"/>
                  <a:pt x="117432" y="4066789"/>
                </a:cubicBezTo>
                <a:lnTo>
                  <a:pt x="0" y="4081711"/>
                </a:ln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Noto Sans"/>
              <a:ea typeface="+mn-ea"/>
              <a:cs typeface="+mn-cs"/>
            </a:endParaRPr>
          </a:p>
        </p:txBody>
      </p:sp>
    </p:spTree>
    <p:extLst>
      <p:ext uri="{BB962C8B-B14F-4D97-AF65-F5344CB8AC3E}">
        <p14:creationId xmlns:p14="http://schemas.microsoft.com/office/powerpoint/2010/main" val="396278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310589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ver 2024-02 - IQVIA">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68145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292518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2024-04 - IQVIA">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408475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ver 2024-05-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103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2024-06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5.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26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BAD4242-30D3-4D6F-83E1-9D8590EAE0FF}" type="datetimeFigureOut">
              <a:rPr lang="en-GB" smtClean="0"/>
              <a:t>01/07/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8622100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Co-Brand 2024-01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1425698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Co-Brand 2024-02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18" name="Freeform: Shape 17">
            <a:extLst>
              <a:ext uri="{FF2B5EF4-FFF2-40B4-BE49-F238E27FC236}">
                <a16:creationId xmlns:a16="http://schemas.microsoft.com/office/drawing/2014/main" id="{D7711C25-1E32-D856-3159-AA194B0AE59F}"/>
              </a:ext>
            </a:extLst>
          </p:cNvPr>
          <p:cNvSpPr/>
          <p:nvPr userDrawn="1"/>
        </p:nvSpPr>
        <p:spPr>
          <a:xfrm rot="-2700000">
            <a:off x="7890787" y="-1101899"/>
            <a:ext cx="3375142" cy="3358615"/>
          </a:xfrm>
          <a:custGeom>
            <a:avLst/>
            <a:gdLst>
              <a:gd name="connsiteX0" fmla="*/ 824841 w 3375142"/>
              <a:gd name="connsiteY0" fmla="*/ 0 h 3358615"/>
              <a:gd name="connsiteX1" fmla="*/ 3375142 w 3375142"/>
              <a:gd name="connsiteY1" fmla="*/ 2550301 h 3358615"/>
              <a:gd name="connsiteX2" fmla="*/ 3375142 w 3375142"/>
              <a:gd name="connsiteY2" fmla="*/ 2834570 h 3358615"/>
              <a:gd name="connsiteX3" fmla="*/ 2851097 w 3375142"/>
              <a:gd name="connsiteY3" fmla="*/ 3358615 h 3358615"/>
              <a:gd name="connsiteX4" fmla="*/ 524045 w 3375142"/>
              <a:gd name="connsiteY4" fmla="*/ 3358615 h 3358615"/>
              <a:gd name="connsiteX5" fmla="*/ 0 w 3375142"/>
              <a:gd name="connsiteY5" fmla="*/ 2834570 h 3358615"/>
              <a:gd name="connsiteX6" fmla="*/ 0 w 3375142"/>
              <a:gd name="connsiteY6" fmla="*/ 524045 h 3358615"/>
              <a:gd name="connsiteX7" fmla="*/ 524045 w 3375142"/>
              <a:gd name="connsiteY7" fmla="*/ 0 h 3358615"/>
              <a:gd name="connsiteX0" fmla="*/ 3375142 w 3466582"/>
              <a:gd name="connsiteY0" fmla="*/ 2550301 h 3358615"/>
              <a:gd name="connsiteX1" fmla="*/ 3375142 w 3466582"/>
              <a:gd name="connsiteY1" fmla="*/ 2834570 h 3358615"/>
              <a:gd name="connsiteX2" fmla="*/ 2851097 w 3466582"/>
              <a:gd name="connsiteY2" fmla="*/ 3358615 h 3358615"/>
              <a:gd name="connsiteX3" fmla="*/ 524045 w 3466582"/>
              <a:gd name="connsiteY3" fmla="*/ 3358615 h 3358615"/>
              <a:gd name="connsiteX4" fmla="*/ 0 w 3466582"/>
              <a:gd name="connsiteY4" fmla="*/ 2834570 h 3358615"/>
              <a:gd name="connsiteX5" fmla="*/ 0 w 3466582"/>
              <a:gd name="connsiteY5" fmla="*/ 524045 h 3358615"/>
              <a:gd name="connsiteX6" fmla="*/ 524045 w 3466582"/>
              <a:gd name="connsiteY6" fmla="*/ 0 h 3358615"/>
              <a:gd name="connsiteX7" fmla="*/ 824841 w 3466582"/>
              <a:gd name="connsiteY7" fmla="*/ 0 h 3358615"/>
              <a:gd name="connsiteX8" fmla="*/ 3466582 w 3466582"/>
              <a:gd name="connsiteY8" fmla="*/ 2641741 h 3358615"/>
              <a:gd name="connsiteX0" fmla="*/ 3375142 w 3375142"/>
              <a:gd name="connsiteY0" fmla="*/ 2550301 h 3358615"/>
              <a:gd name="connsiteX1" fmla="*/ 3375142 w 3375142"/>
              <a:gd name="connsiteY1" fmla="*/ 2834570 h 3358615"/>
              <a:gd name="connsiteX2" fmla="*/ 2851097 w 3375142"/>
              <a:gd name="connsiteY2" fmla="*/ 3358615 h 3358615"/>
              <a:gd name="connsiteX3" fmla="*/ 524045 w 3375142"/>
              <a:gd name="connsiteY3" fmla="*/ 3358615 h 3358615"/>
              <a:gd name="connsiteX4" fmla="*/ 0 w 3375142"/>
              <a:gd name="connsiteY4" fmla="*/ 2834570 h 3358615"/>
              <a:gd name="connsiteX5" fmla="*/ 0 w 3375142"/>
              <a:gd name="connsiteY5" fmla="*/ 524045 h 3358615"/>
              <a:gd name="connsiteX6" fmla="*/ 524045 w 3375142"/>
              <a:gd name="connsiteY6" fmla="*/ 0 h 3358615"/>
              <a:gd name="connsiteX7" fmla="*/ 824841 w 3375142"/>
              <a:gd name="connsiteY7" fmla="*/ 0 h 335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5142" h="3358615">
                <a:moveTo>
                  <a:pt x="3375142" y="2550301"/>
                </a:moveTo>
                <a:lnTo>
                  <a:pt x="3375142" y="2834570"/>
                </a:lnTo>
                <a:cubicBezTo>
                  <a:pt x="3375142" y="3123992"/>
                  <a:pt x="3140519" y="3358615"/>
                  <a:pt x="2851097" y="3358615"/>
                </a:cubicBezTo>
                <a:lnTo>
                  <a:pt x="524045" y="3358615"/>
                </a:lnTo>
                <a:cubicBezTo>
                  <a:pt x="234623" y="3358615"/>
                  <a:pt x="0" y="3123992"/>
                  <a:pt x="0" y="2834570"/>
                </a:cubicBezTo>
                <a:lnTo>
                  <a:pt x="0" y="524045"/>
                </a:lnTo>
                <a:cubicBezTo>
                  <a:pt x="0" y="234623"/>
                  <a:pt x="234623" y="0"/>
                  <a:pt x="524045" y="0"/>
                </a:cubicBezTo>
                <a:lnTo>
                  <a:pt x="824841"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3" name="Freeform: Shape 12">
            <a:extLst>
              <a:ext uri="{FF2B5EF4-FFF2-40B4-BE49-F238E27FC236}">
                <a16:creationId xmlns:a16="http://schemas.microsoft.com/office/drawing/2014/main" id="{7C9A477D-265C-9608-FDB2-0CC08A6EB248}"/>
              </a:ext>
            </a:extLst>
          </p:cNvPr>
          <p:cNvSpPr/>
          <p:nvPr userDrawn="1"/>
        </p:nvSpPr>
        <p:spPr>
          <a:xfrm rot="-2700000">
            <a:off x="8628149" y="-1411464"/>
            <a:ext cx="3721275" cy="4628377"/>
          </a:xfrm>
          <a:custGeom>
            <a:avLst/>
            <a:gdLst>
              <a:gd name="connsiteX0" fmla="*/ 823095 w 3721275"/>
              <a:gd name="connsiteY0" fmla="*/ 0 h 4628377"/>
              <a:gd name="connsiteX1" fmla="*/ 3721275 w 3721275"/>
              <a:gd name="connsiteY1" fmla="*/ 2898181 h 4628377"/>
              <a:gd name="connsiteX2" fmla="*/ 1991079 w 3721275"/>
              <a:gd name="connsiteY2" fmla="*/ 4628377 h 4628377"/>
              <a:gd name="connsiteX3" fmla="*/ 648536 w 3721275"/>
              <a:gd name="connsiteY3" fmla="*/ 4628377 h 4628377"/>
              <a:gd name="connsiteX4" fmla="*/ 0 w 3721275"/>
              <a:gd name="connsiteY4" fmla="*/ 3979841 h 4628377"/>
              <a:gd name="connsiteX5" fmla="*/ 0 w 3721275"/>
              <a:gd name="connsiteY5" fmla="*/ 648536 h 4628377"/>
              <a:gd name="connsiteX6" fmla="*/ 648536 w 3721275"/>
              <a:gd name="connsiteY6" fmla="*/ 0 h 462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275" h="4628377">
                <a:moveTo>
                  <a:pt x="823095" y="0"/>
                </a:moveTo>
                <a:lnTo>
                  <a:pt x="3721275" y="2898181"/>
                </a:lnTo>
                <a:lnTo>
                  <a:pt x="1991079" y="4628377"/>
                </a:lnTo>
                <a:lnTo>
                  <a:pt x="648536" y="4628377"/>
                </a:lnTo>
                <a:cubicBezTo>
                  <a:pt x="290359" y="4628377"/>
                  <a:pt x="0" y="4338018"/>
                  <a:pt x="0" y="3979841"/>
                </a:cubicBezTo>
                <a:lnTo>
                  <a:pt x="0" y="648536"/>
                </a:lnTo>
                <a:cubicBezTo>
                  <a:pt x="0" y="290359"/>
                  <a:pt x="290359" y="0"/>
                  <a:pt x="64853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47624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Co-Brand 2024-03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93076B7C-F202-996E-7DFF-5D02CB251F3F}"/>
              </a:ext>
            </a:extLst>
          </p:cNvPr>
          <p:cNvSpPr/>
          <p:nvPr userDrawn="1"/>
        </p:nvSpPr>
        <p:spPr>
          <a:xfrm rot="2700000">
            <a:off x="10287508" y="-38027"/>
            <a:ext cx="2386306" cy="3251042"/>
          </a:xfrm>
          <a:custGeom>
            <a:avLst/>
            <a:gdLst>
              <a:gd name="connsiteX0" fmla="*/ 0 w 2386306"/>
              <a:gd name="connsiteY0" fmla="*/ 573618 h 3251042"/>
              <a:gd name="connsiteX1" fmla="*/ 573618 w 2386306"/>
              <a:gd name="connsiteY1" fmla="*/ 0 h 3251042"/>
              <a:gd name="connsiteX2" fmla="*/ 2386306 w 2386306"/>
              <a:gd name="connsiteY2" fmla="*/ 1812689 h 3251042"/>
              <a:gd name="connsiteX3" fmla="*/ 2386306 w 2386306"/>
              <a:gd name="connsiteY3" fmla="*/ 2894719 h 3251042"/>
              <a:gd name="connsiteX4" fmla="*/ 2029983 w 2386306"/>
              <a:gd name="connsiteY4" fmla="*/ 3251042 h 3251042"/>
              <a:gd name="connsiteX5" fmla="*/ 356323 w 2386306"/>
              <a:gd name="connsiteY5" fmla="*/ 3251042 h 3251042"/>
              <a:gd name="connsiteX6" fmla="*/ 0 w 2386306"/>
              <a:gd name="connsiteY6" fmla="*/ 2894719 h 325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306" h="3251042">
                <a:moveTo>
                  <a:pt x="0" y="573618"/>
                </a:moveTo>
                <a:lnTo>
                  <a:pt x="573618" y="0"/>
                </a:lnTo>
                <a:lnTo>
                  <a:pt x="2386306" y="1812689"/>
                </a:lnTo>
                <a:lnTo>
                  <a:pt x="2386306" y="2894719"/>
                </a:lnTo>
                <a:cubicBezTo>
                  <a:pt x="2386306" y="3091511"/>
                  <a:pt x="2226775" y="3251042"/>
                  <a:pt x="2029983" y="3251042"/>
                </a:cubicBezTo>
                <a:lnTo>
                  <a:pt x="356323" y="3251042"/>
                </a:lnTo>
                <a:cubicBezTo>
                  <a:pt x="159531" y="3251042"/>
                  <a:pt x="0" y="3091511"/>
                  <a:pt x="0" y="289471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1CF6A970-AE29-6F75-C4C8-B187F617CAEC}"/>
              </a:ext>
            </a:extLst>
          </p:cNvPr>
          <p:cNvSpPr/>
          <p:nvPr userDrawn="1"/>
        </p:nvSpPr>
        <p:spPr>
          <a:xfrm rot="2700000">
            <a:off x="10132011" y="1200350"/>
            <a:ext cx="2806378" cy="2807032"/>
          </a:xfrm>
          <a:custGeom>
            <a:avLst/>
            <a:gdLst>
              <a:gd name="connsiteX0" fmla="*/ 93508 w 2806378"/>
              <a:gd name="connsiteY0" fmla="*/ 93507 h 2807032"/>
              <a:gd name="connsiteX1" fmla="*/ 319254 w 2806378"/>
              <a:gd name="connsiteY1" fmla="*/ 0 h 2807032"/>
              <a:gd name="connsiteX2" fmla="*/ 928529 w 2806378"/>
              <a:gd name="connsiteY2" fmla="*/ 0 h 2807032"/>
              <a:gd name="connsiteX3" fmla="*/ 2806378 w 2806378"/>
              <a:gd name="connsiteY3" fmla="*/ 1877849 h 2807032"/>
              <a:gd name="connsiteX4" fmla="*/ 2806378 w 2806378"/>
              <a:gd name="connsiteY4" fmla="*/ 2487778 h 2807032"/>
              <a:gd name="connsiteX5" fmla="*/ 2487124 w 2806378"/>
              <a:gd name="connsiteY5" fmla="*/ 2807032 h 2807032"/>
              <a:gd name="connsiteX6" fmla="*/ 319254 w 2806378"/>
              <a:gd name="connsiteY6" fmla="*/ 2807032 h 2807032"/>
              <a:gd name="connsiteX7" fmla="*/ 0 w 2806378"/>
              <a:gd name="connsiteY7" fmla="*/ 2487778 h 2807032"/>
              <a:gd name="connsiteX8" fmla="*/ 0 w 2806378"/>
              <a:gd name="connsiteY8" fmla="*/ 319254 h 2807032"/>
              <a:gd name="connsiteX9" fmla="*/ 93508 w 2806378"/>
              <a:gd name="connsiteY9" fmla="*/ 93507 h 28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378" h="2807032">
                <a:moveTo>
                  <a:pt x="93508" y="93507"/>
                </a:moveTo>
                <a:cubicBezTo>
                  <a:pt x="151281" y="35733"/>
                  <a:pt x="231095" y="0"/>
                  <a:pt x="319254" y="0"/>
                </a:cubicBezTo>
                <a:lnTo>
                  <a:pt x="928529" y="0"/>
                </a:lnTo>
                <a:lnTo>
                  <a:pt x="2806378" y="1877849"/>
                </a:lnTo>
                <a:lnTo>
                  <a:pt x="2806378" y="2487778"/>
                </a:lnTo>
                <a:cubicBezTo>
                  <a:pt x="2806378" y="2664097"/>
                  <a:pt x="2663443" y="2807032"/>
                  <a:pt x="2487124" y="2807032"/>
                </a:cubicBezTo>
                <a:lnTo>
                  <a:pt x="319254" y="2807032"/>
                </a:lnTo>
                <a:cubicBezTo>
                  <a:pt x="142935" y="2807032"/>
                  <a:pt x="0" y="2664097"/>
                  <a:pt x="0" y="2487778"/>
                </a:cubicBezTo>
                <a:lnTo>
                  <a:pt x="0" y="319254"/>
                </a:lnTo>
                <a:cubicBezTo>
                  <a:pt x="0" y="231094"/>
                  <a:pt x="35734" y="151281"/>
                  <a:pt x="93508" y="9350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C595510-407A-9229-034C-83CA1804EAD4}"/>
              </a:ext>
            </a:extLst>
          </p:cNvPr>
          <p:cNvSpPr/>
          <p:nvPr userDrawn="1"/>
        </p:nvSpPr>
        <p:spPr>
          <a:xfrm rot="2700000">
            <a:off x="10839088" y="1250954"/>
            <a:ext cx="2705824" cy="2705824"/>
          </a:xfrm>
          <a:custGeom>
            <a:avLst/>
            <a:gdLst>
              <a:gd name="connsiteX0" fmla="*/ 0 w 2705824"/>
              <a:gd name="connsiteY0" fmla="*/ 0 h 2705824"/>
              <a:gd name="connsiteX1" fmla="*/ 2705824 w 2705824"/>
              <a:gd name="connsiteY1" fmla="*/ 2705824 h 2705824"/>
              <a:gd name="connsiteX2" fmla="*/ 306766 w 2705824"/>
              <a:gd name="connsiteY2" fmla="*/ 2705824 h 2705824"/>
              <a:gd name="connsiteX3" fmla="*/ 0 w 2705824"/>
              <a:gd name="connsiteY3" fmla="*/ 2399058 h 2705824"/>
              <a:gd name="connsiteX0" fmla="*/ 2705824 w 2797264"/>
              <a:gd name="connsiteY0" fmla="*/ 2705824 h 2797264"/>
              <a:gd name="connsiteX1" fmla="*/ 306766 w 2797264"/>
              <a:gd name="connsiteY1" fmla="*/ 2705824 h 2797264"/>
              <a:gd name="connsiteX2" fmla="*/ 0 w 2797264"/>
              <a:gd name="connsiteY2" fmla="*/ 2399058 h 2797264"/>
              <a:gd name="connsiteX3" fmla="*/ 0 w 2797264"/>
              <a:gd name="connsiteY3" fmla="*/ 0 h 2797264"/>
              <a:gd name="connsiteX4" fmla="*/ 2797264 w 2797264"/>
              <a:gd name="connsiteY4" fmla="*/ 2797264 h 2797264"/>
              <a:gd name="connsiteX0" fmla="*/ 2705824 w 2705824"/>
              <a:gd name="connsiteY0" fmla="*/ 2705824 h 2705824"/>
              <a:gd name="connsiteX1" fmla="*/ 306766 w 2705824"/>
              <a:gd name="connsiteY1" fmla="*/ 2705824 h 2705824"/>
              <a:gd name="connsiteX2" fmla="*/ 0 w 2705824"/>
              <a:gd name="connsiteY2" fmla="*/ 2399058 h 2705824"/>
              <a:gd name="connsiteX3" fmla="*/ 0 w 2705824"/>
              <a:gd name="connsiteY3" fmla="*/ 0 h 2705824"/>
            </a:gdLst>
            <a:ahLst/>
            <a:cxnLst>
              <a:cxn ang="0">
                <a:pos x="connsiteX0" y="connsiteY0"/>
              </a:cxn>
              <a:cxn ang="0">
                <a:pos x="connsiteX1" y="connsiteY1"/>
              </a:cxn>
              <a:cxn ang="0">
                <a:pos x="connsiteX2" y="connsiteY2"/>
              </a:cxn>
              <a:cxn ang="0">
                <a:pos x="connsiteX3" y="connsiteY3"/>
              </a:cxn>
            </a:cxnLst>
            <a:rect l="l" t="t" r="r" b="b"/>
            <a:pathLst>
              <a:path w="2705824" h="2705824">
                <a:moveTo>
                  <a:pt x="2705824" y="2705824"/>
                </a:moveTo>
                <a:lnTo>
                  <a:pt x="306766" y="2705824"/>
                </a:lnTo>
                <a:cubicBezTo>
                  <a:pt x="137344" y="2705824"/>
                  <a:pt x="0" y="2568480"/>
                  <a:pt x="0" y="2399058"/>
                </a:cubicBezTo>
                <a:lnTo>
                  <a:pt x="0" y="0"/>
                </a:lnTo>
              </a:path>
            </a:pathLst>
          </a:custGeom>
          <a:noFill/>
          <a:ln>
            <a:solidFill>
              <a:srgbClr val="0CEFC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49191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Co-Brand 2024-04 - IQVIA">
    <p:spTree>
      <p:nvGrpSpPr>
        <p:cNvPr id="1" name=""/>
        <p:cNvGrpSpPr/>
        <p:nvPr/>
      </p:nvGrpSpPr>
      <p:grpSpPr>
        <a:xfrm>
          <a:off x="0" y="0"/>
          <a:ext cx="0" cy="0"/>
          <a:chOff x="0" y="0"/>
          <a:chExt cx="0" cy="0"/>
        </a:xfrm>
      </p:grpSpPr>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5.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
        <p:nvSpPr>
          <p:cNvPr id="5" name="Freeform: Shape 4">
            <a:extLst>
              <a:ext uri="{FF2B5EF4-FFF2-40B4-BE49-F238E27FC236}">
                <a16:creationId xmlns:a16="http://schemas.microsoft.com/office/drawing/2014/main" id="{4493F902-AAD1-8100-DE89-9A4C865E166B}"/>
              </a:ext>
            </a:extLst>
          </p:cNvPr>
          <p:cNvSpPr/>
          <p:nvPr userDrawn="1"/>
        </p:nvSpPr>
        <p:spPr>
          <a:xfrm rot="2700000">
            <a:off x="9798166" y="-906004"/>
            <a:ext cx="1193902" cy="4301542"/>
          </a:xfrm>
          <a:custGeom>
            <a:avLst/>
            <a:gdLst>
              <a:gd name="connsiteX0" fmla="*/ 0 w 1193902"/>
              <a:gd name="connsiteY0" fmla="*/ 987355 h 4301542"/>
              <a:gd name="connsiteX1" fmla="*/ 987355 w 1193902"/>
              <a:gd name="connsiteY1" fmla="*/ 0 h 4301542"/>
              <a:gd name="connsiteX2" fmla="*/ 1193902 w 1193902"/>
              <a:gd name="connsiteY2" fmla="*/ 206546 h 4301542"/>
              <a:gd name="connsiteX3" fmla="*/ 1193901 w 1193902"/>
              <a:gd name="connsiteY3" fmla="*/ 3704591 h 4301542"/>
              <a:gd name="connsiteX4" fmla="*/ 596950 w 1193902"/>
              <a:gd name="connsiteY4" fmla="*/ 4301542 h 4301542"/>
              <a:gd name="connsiteX5" fmla="*/ 596951 w 1193902"/>
              <a:gd name="connsiteY5" fmla="*/ 4301541 h 4301542"/>
              <a:gd name="connsiteX6" fmla="*/ 0 w 1193902"/>
              <a:gd name="connsiteY6" fmla="*/ 370459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 name="connsiteX7" fmla="*/ 1078795 w 1193902"/>
              <a:gd name="connsiteY7" fmla="*/ 91440 h 4301542"/>
              <a:gd name="connsiteX0" fmla="*/ 987355 w 1193902"/>
              <a:gd name="connsiteY0" fmla="*/ 0 h 4301542"/>
              <a:gd name="connsiteX1" fmla="*/ 1193902 w 1193902"/>
              <a:gd name="connsiteY1" fmla="*/ 206546 h 4301542"/>
              <a:gd name="connsiteX2" fmla="*/ 1193901 w 1193902"/>
              <a:gd name="connsiteY2" fmla="*/ 3704591 h 4301542"/>
              <a:gd name="connsiteX3" fmla="*/ 596950 w 1193902"/>
              <a:gd name="connsiteY3" fmla="*/ 4301542 h 4301542"/>
              <a:gd name="connsiteX4" fmla="*/ 596951 w 1193902"/>
              <a:gd name="connsiteY4" fmla="*/ 4301541 h 4301542"/>
              <a:gd name="connsiteX5" fmla="*/ 0 w 1193902"/>
              <a:gd name="connsiteY5" fmla="*/ 3704590 h 4301542"/>
              <a:gd name="connsiteX6" fmla="*/ 0 w 1193902"/>
              <a:gd name="connsiteY6" fmla="*/ 987355 h 430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902" h="4301542">
                <a:moveTo>
                  <a:pt x="987355" y="0"/>
                </a:moveTo>
                <a:lnTo>
                  <a:pt x="1193902" y="206546"/>
                </a:lnTo>
                <a:cubicBezTo>
                  <a:pt x="1193902" y="1372561"/>
                  <a:pt x="1193901" y="2538576"/>
                  <a:pt x="1193901" y="3704591"/>
                </a:cubicBezTo>
                <a:cubicBezTo>
                  <a:pt x="1193901" y="4034278"/>
                  <a:pt x="926637" y="4301542"/>
                  <a:pt x="596950" y="4301542"/>
                </a:cubicBezTo>
                <a:lnTo>
                  <a:pt x="596951" y="4301541"/>
                </a:lnTo>
                <a:cubicBezTo>
                  <a:pt x="267264" y="4301541"/>
                  <a:pt x="0" y="4034277"/>
                  <a:pt x="0" y="3704590"/>
                </a:cubicBezTo>
                <a:lnTo>
                  <a:pt x="0" y="98735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Freeform: Shape 5">
            <a:extLst>
              <a:ext uri="{FF2B5EF4-FFF2-40B4-BE49-F238E27FC236}">
                <a16:creationId xmlns:a16="http://schemas.microsoft.com/office/drawing/2014/main" id="{7FC2DBB2-A181-4E29-6CCA-A8F30AC33C44}"/>
              </a:ext>
            </a:extLst>
          </p:cNvPr>
          <p:cNvSpPr/>
          <p:nvPr userDrawn="1"/>
        </p:nvSpPr>
        <p:spPr>
          <a:xfrm rot="2700000">
            <a:off x="11019741" y="1955164"/>
            <a:ext cx="825711" cy="2790751"/>
          </a:xfrm>
          <a:custGeom>
            <a:avLst/>
            <a:gdLst>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0" fmla="*/ 0 w 825711"/>
              <a:gd name="connsiteY0" fmla="*/ 0 h 2882191"/>
              <a:gd name="connsiteX1" fmla="*/ 825711 w 825711"/>
              <a:gd name="connsiteY1" fmla="*/ 825711 h 2882191"/>
              <a:gd name="connsiteX2" fmla="*/ 825711 w 825711"/>
              <a:gd name="connsiteY2" fmla="*/ 2469335 h 2882191"/>
              <a:gd name="connsiteX3" fmla="*/ 412855 w 825711"/>
              <a:gd name="connsiteY3" fmla="*/ 2882191 h 2882191"/>
              <a:gd name="connsiteX4" fmla="*/ 412856 w 825711"/>
              <a:gd name="connsiteY4" fmla="*/ 2882190 h 2882191"/>
              <a:gd name="connsiteX5" fmla="*/ 0 w 825711"/>
              <a:gd name="connsiteY5" fmla="*/ 2469334 h 2882191"/>
              <a:gd name="connsiteX6" fmla="*/ 91440 w 825711"/>
              <a:gd name="connsiteY6" fmla="*/ 91440 h 2882191"/>
              <a:gd name="connsiteX0" fmla="*/ 825711 w 825711"/>
              <a:gd name="connsiteY0" fmla="*/ 734271 h 2790751"/>
              <a:gd name="connsiteX1" fmla="*/ 825711 w 825711"/>
              <a:gd name="connsiteY1" fmla="*/ 2377895 h 2790751"/>
              <a:gd name="connsiteX2" fmla="*/ 412855 w 825711"/>
              <a:gd name="connsiteY2" fmla="*/ 2790751 h 2790751"/>
              <a:gd name="connsiteX3" fmla="*/ 412856 w 825711"/>
              <a:gd name="connsiteY3" fmla="*/ 2790750 h 2790751"/>
              <a:gd name="connsiteX4" fmla="*/ 0 w 825711"/>
              <a:gd name="connsiteY4" fmla="*/ 2377894 h 2790751"/>
              <a:gd name="connsiteX5" fmla="*/ 91440 w 825711"/>
              <a:gd name="connsiteY5" fmla="*/ 0 h 27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2790751">
                <a:moveTo>
                  <a:pt x="825711" y="734271"/>
                </a:moveTo>
                <a:lnTo>
                  <a:pt x="825711" y="2377895"/>
                </a:lnTo>
                <a:cubicBezTo>
                  <a:pt x="825711" y="2605909"/>
                  <a:pt x="640869" y="2790751"/>
                  <a:pt x="412855" y="2790751"/>
                </a:cubicBezTo>
                <a:lnTo>
                  <a:pt x="412856" y="2790750"/>
                </a:lnTo>
                <a:cubicBezTo>
                  <a:pt x="184842" y="2790750"/>
                  <a:pt x="0" y="2605908"/>
                  <a:pt x="0" y="2377894"/>
                </a:cubicBezTo>
                <a:cubicBezTo>
                  <a:pt x="0" y="1554783"/>
                  <a:pt x="91440" y="0"/>
                  <a:pt x="91440" y="0"/>
                </a:cubicBez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7" name="Freeform: Shape 6">
            <a:extLst>
              <a:ext uri="{FF2B5EF4-FFF2-40B4-BE49-F238E27FC236}">
                <a16:creationId xmlns:a16="http://schemas.microsoft.com/office/drawing/2014/main" id="{AFC722F8-9A5C-19E5-0242-1E41CA5B41E8}"/>
              </a:ext>
            </a:extLst>
          </p:cNvPr>
          <p:cNvSpPr/>
          <p:nvPr userDrawn="1"/>
        </p:nvSpPr>
        <p:spPr>
          <a:xfrm rot="2700000">
            <a:off x="10059962" y="-488825"/>
            <a:ext cx="1032256" cy="5442037"/>
          </a:xfrm>
          <a:custGeom>
            <a:avLst/>
            <a:gdLst>
              <a:gd name="connsiteX0" fmla="*/ 0 w 1032256"/>
              <a:gd name="connsiteY0" fmla="*/ 80350 h 5442037"/>
              <a:gd name="connsiteX1" fmla="*/ 80350 w 1032256"/>
              <a:gd name="connsiteY1" fmla="*/ 0 h 5442037"/>
              <a:gd name="connsiteX2" fmla="*/ 1032256 w 1032256"/>
              <a:gd name="connsiteY2" fmla="*/ 951906 h 5442037"/>
              <a:gd name="connsiteX3" fmla="*/ 1032255 w 1032256"/>
              <a:gd name="connsiteY3" fmla="*/ 4925909 h 5442037"/>
              <a:gd name="connsiteX4" fmla="*/ 516127 w 1032256"/>
              <a:gd name="connsiteY4" fmla="*/ 5442037 h 5442037"/>
              <a:gd name="connsiteX5" fmla="*/ 516128 w 1032256"/>
              <a:gd name="connsiteY5" fmla="*/ 5442036 h 5442037"/>
              <a:gd name="connsiteX6" fmla="*/ 0 w 1032256"/>
              <a:gd name="connsiteY6" fmla="*/ 4925908 h 544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256" h="5442037">
                <a:moveTo>
                  <a:pt x="0" y="80350"/>
                </a:moveTo>
                <a:lnTo>
                  <a:pt x="80350" y="0"/>
                </a:lnTo>
                <a:lnTo>
                  <a:pt x="1032256" y="951906"/>
                </a:lnTo>
                <a:lnTo>
                  <a:pt x="1032255" y="4925909"/>
                </a:lnTo>
                <a:cubicBezTo>
                  <a:pt x="1032255" y="5210959"/>
                  <a:pt x="801177" y="5442037"/>
                  <a:pt x="516127" y="5442037"/>
                </a:cubicBezTo>
                <a:lnTo>
                  <a:pt x="516128" y="5442036"/>
                </a:lnTo>
                <a:cubicBezTo>
                  <a:pt x="231078" y="5442036"/>
                  <a:pt x="0" y="5210958"/>
                  <a:pt x="0" y="492590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8" name="Freeform: Shape 7">
            <a:extLst>
              <a:ext uri="{FF2B5EF4-FFF2-40B4-BE49-F238E27FC236}">
                <a16:creationId xmlns:a16="http://schemas.microsoft.com/office/drawing/2014/main" id="{461D5A5C-10B5-236E-C5A3-320C49CAC101}"/>
              </a:ext>
            </a:extLst>
          </p:cNvPr>
          <p:cNvSpPr/>
          <p:nvPr userDrawn="1"/>
        </p:nvSpPr>
        <p:spPr>
          <a:xfrm rot="2700000">
            <a:off x="10155384" y="-743160"/>
            <a:ext cx="619166" cy="4750557"/>
          </a:xfrm>
          <a:custGeom>
            <a:avLst/>
            <a:gdLst>
              <a:gd name="connsiteX0" fmla="*/ 0 w 619166"/>
              <a:gd name="connsiteY0" fmla="*/ 376697 h 4750557"/>
              <a:gd name="connsiteX1" fmla="*/ 376697 w 619166"/>
              <a:gd name="connsiteY1" fmla="*/ 0 h 4750557"/>
              <a:gd name="connsiteX2" fmla="*/ 619166 w 619166"/>
              <a:gd name="connsiteY2" fmla="*/ 242469 h 4750557"/>
              <a:gd name="connsiteX3" fmla="*/ 619165 w 619166"/>
              <a:gd name="connsiteY3" fmla="*/ 4440974 h 4750557"/>
              <a:gd name="connsiteX4" fmla="*/ 309582 w 619166"/>
              <a:gd name="connsiteY4" fmla="*/ 4750557 h 4750557"/>
              <a:gd name="connsiteX5" fmla="*/ 309583 w 619166"/>
              <a:gd name="connsiteY5" fmla="*/ 4750556 h 4750557"/>
              <a:gd name="connsiteX6" fmla="*/ 0 w 619166"/>
              <a:gd name="connsiteY6" fmla="*/ 4440973 h 47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66" h="4750557">
                <a:moveTo>
                  <a:pt x="0" y="376697"/>
                </a:moveTo>
                <a:lnTo>
                  <a:pt x="376697" y="0"/>
                </a:lnTo>
                <a:lnTo>
                  <a:pt x="619166" y="242469"/>
                </a:lnTo>
                <a:lnTo>
                  <a:pt x="619165" y="4440974"/>
                </a:lnTo>
                <a:cubicBezTo>
                  <a:pt x="619165" y="4611952"/>
                  <a:pt x="480560" y="4750557"/>
                  <a:pt x="309582" y="4750557"/>
                </a:cubicBezTo>
                <a:lnTo>
                  <a:pt x="309583" y="4750556"/>
                </a:lnTo>
                <a:cubicBezTo>
                  <a:pt x="138605" y="4750556"/>
                  <a:pt x="0" y="4611951"/>
                  <a:pt x="0" y="4440973"/>
                </a:cubicBezTo>
                <a:close/>
              </a:path>
            </a:pathLst>
          </a:custGeom>
          <a:solidFill>
            <a:srgbClr val="0CEFC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
        <p:nvSpPr>
          <p:cNvPr id="10" name="Freeform: Shape 9">
            <a:extLst>
              <a:ext uri="{FF2B5EF4-FFF2-40B4-BE49-F238E27FC236}">
                <a16:creationId xmlns:a16="http://schemas.microsoft.com/office/drawing/2014/main" id="{F380E180-0B33-1124-60B3-4CE23784FB15}"/>
              </a:ext>
            </a:extLst>
          </p:cNvPr>
          <p:cNvSpPr/>
          <p:nvPr userDrawn="1"/>
        </p:nvSpPr>
        <p:spPr>
          <a:xfrm rot="2700000">
            <a:off x="10829819" y="1073856"/>
            <a:ext cx="825711" cy="3510810"/>
          </a:xfrm>
          <a:custGeom>
            <a:avLst/>
            <a:gdLst>
              <a:gd name="connsiteX0" fmla="*/ 0 w 825711"/>
              <a:gd name="connsiteY0" fmla="*/ 0 h 3510810"/>
              <a:gd name="connsiteX1" fmla="*/ 825711 w 825711"/>
              <a:gd name="connsiteY1" fmla="*/ 825711 h 3510810"/>
              <a:gd name="connsiteX2" fmla="*/ 825711 w 825711"/>
              <a:gd name="connsiteY2" fmla="*/ 3097954 h 3510810"/>
              <a:gd name="connsiteX3" fmla="*/ 412855 w 825711"/>
              <a:gd name="connsiteY3" fmla="*/ 3510810 h 3510810"/>
              <a:gd name="connsiteX4" fmla="*/ 412856 w 825711"/>
              <a:gd name="connsiteY4" fmla="*/ 3510809 h 3510810"/>
              <a:gd name="connsiteX5" fmla="*/ 0 w 825711"/>
              <a:gd name="connsiteY5" fmla="*/ 3097953 h 351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711" h="3510810">
                <a:moveTo>
                  <a:pt x="0" y="0"/>
                </a:moveTo>
                <a:lnTo>
                  <a:pt x="825711" y="825711"/>
                </a:lnTo>
                <a:lnTo>
                  <a:pt x="825711" y="3097954"/>
                </a:lnTo>
                <a:cubicBezTo>
                  <a:pt x="825711" y="3325968"/>
                  <a:pt x="640869" y="3510810"/>
                  <a:pt x="412855" y="3510810"/>
                </a:cubicBezTo>
                <a:lnTo>
                  <a:pt x="412856" y="3510809"/>
                </a:lnTo>
                <a:cubicBezTo>
                  <a:pt x="184842" y="3510809"/>
                  <a:pt x="0" y="3325967"/>
                  <a:pt x="0" y="309795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spTree>
    <p:extLst>
      <p:ext uri="{BB962C8B-B14F-4D97-AF65-F5344CB8AC3E}">
        <p14:creationId xmlns:p14="http://schemas.microsoft.com/office/powerpoint/2010/main" val="344838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4454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7401">
          <p15:clr>
            <a:srgbClr val="FBAE40"/>
          </p15:clr>
        </p15:guide>
        <p15:guide id="4" pos="23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80336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62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517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7726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9269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AD4242-30D3-4D6F-83E1-9D8590EAE0FF}" type="datetimeFigureOut">
              <a:rPr lang="en-GB" smtClean="0"/>
              <a:t>01/07/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3559812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7105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18601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06635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97491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64656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234">
          <p15:clr>
            <a:srgbClr val="FBAE40"/>
          </p15:clr>
        </p15:guide>
        <p15:guide id="4" pos="740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29030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420635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vider Photo Left - IQVIA">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370874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42870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10205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AD4242-30D3-4D6F-83E1-9D8590EAE0FF}" type="datetimeFigureOut">
              <a:rPr lang="en-GB" smtClean="0"/>
              <a:t>01/07/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8768369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64354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21807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2024-04 - IQVIA">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22300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2024-05 - IQVIA">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err="1"/>
          </a:p>
        </p:txBody>
      </p:sp>
    </p:spTree>
    <p:extLst>
      <p:ext uri="{BB962C8B-B14F-4D97-AF65-F5344CB8AC3E}">
        <p14:creationId xmlns:p14="http://schemas.microsoft.com/office/powerpoint/2010/main" val="60266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43639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2024-07 - IQVIA">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356134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62835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14157B-15ED-445A-9EDD-9B69523164B0}"/>
              </a:ext>
            </a:extLst>
          </p:cNvPr>
          <p:cNvGraphicFramePr>
            <a:graphicFrameLocks noChangeAspect="1"/>
          </p:cNvGraphicFramePr>
          <p:nvPr userDrawn="1">
            <p:custDataLst>
              <p:tags r:id="rId1"/>
            </p:custDataLst>
            <p:extLst>
              <p:ext uri="{D42A27DB-BD31-4B8C-83A1-F6EECF244321}">
                <p14:modId xmlns:p14="http://schemas.microsoft.com/office/powerpoint/2010/main" val="250584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B614157B-15ED-445A-9EDD-9B6952316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0B57C2B3-6891-4DA8-9E01-921FE43EC8CC}"/>
              </a:ext>
            </a:extLst>
          </p:cNvPr>
          <p:cNvSpPr/>
          <p:nvPr userDrawn="1"/>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grpSp>
        <p:nvGrpSpPr>
          <p:cNvPr id="56" name="Group 55">
            <a:extLst>
              <a:ext uri="{FF2B5EF4-FFF2-40B4-BE49-F238E27FC236}">
                <a16:creationId xmlns:a16="http://schemas.microsoft.com/office/drawing/2014/main" id="{956769BE-FF24-4503-A0A8-1B23CBEBD978}"/>
              </a:ext>
            </a:extLst>
          </p:cNvPr>
          <p:cNvGrpSpPr/>
          <p:nvPr userDrawn="1"/>
        </p:nvGrpSpPr>
        <p:grpSpPr>
          <a:xfrm>
            <a:off x="-1" y="260324"/>
            <a:ext cx="1250388" cy="1575820"/>
            <a:chOff x="-1" y="260324"/>
            <a:chExt cx="1250388" cy="1575820"/>
          </a:xfrm>
          <a:solidFill>
            <a:schemeClr val="accent1"/>
          </a:solidFill>
        </p:grpSpPr>
        <p:grpSp>
          <p:nvGrpSpPr>
            <p:cNvPr id="57" name="Group 56">
              <a:extLst>
                <a:ext uri="{FF2B5EF4-FFF2-40B4-BE49-F238E27FC236}">
                  <a16:creationId xmlns:a16="http://schemas.microsoft.com/office/drawing/2014/main" id="{976238AD-B809-4B3D-B0BE-6924176147F2}"/>
                </a:ext>
              </a:extLst>
            </p:cNvPr>
            <p:cNvGrpSpPr/>
            <p:nvPr/>
          </p:nvGrpSpPr>
          <p:grpSpPr>
            <a:xfrm>
              <a:off x="686264" y="1652391"/>
              <a:ext cx="564123" cy="183753"/>
              <a:chOff x="876236" y="5534957"/>
              <a:chExt cx="1674271" cy="545364"/>
            </a:xfrm>
            <a:grpFill/>
          </p:grpSpPr>
          <p:sp>
            <p:nvSpPr>
              <p:cNvPr id="79" name="Rectangle 78">
                <a:extLst>
                  <a:ext uri="{FF2B5EF4-FFF2-40B4-BE49-F238E27FC236}">
                    <a16:creationId xmlns:a16="http://schemas.microsoft.com/office/drawing/2014/main" id="{CBBA0F07-9D09-4B4F-BC5B-6F60FC6BEA6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7A447684-B90C-4C99-8A9D-50768288DCD4}"/>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Oval 80">
                <a:extLst>
                  <a:ext uri="{FF2B5EF4-FFF2-40B4-BE49-F238E27FC236}">
                    <a16:creationId xmlns:a16="http://schemas.microsoft.com/office/drawing/2014/main" id="{16ED1A4D-1BBC-4AA2-B78E-D594D2AD580B}"/>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8" name="Group 57">
              <a:extLst>
                <a:ext uri="{FF2B5EF4-FFF2-40B4-BE49-F238E27FC236}">
                  <a16:creationId xmlns:a16="http://schemas.microsoft.com/office/drawing/2014/main" id="{67DFF148-321E-48F0-B58B-2808223CF653}"/>
                </a:ext>
              </a:extLst>
            </p:cNvPr>
            <p:cNvGrpSpPr/>
            <p:nvPr/>
          </p:nvGrpSpPr>
          <p:grpSpPr>
            <a:xfrm>
              <a:off x="864211" y="1304375"/>
              <a:ext cx="386176" cy="183753"/>
              <a:chOff x="1404367" y="4502072"/>
              <a:chExt cx="1146140" cy="545364"/>
            </a:xfrm>
            <a:grpFill/>
          </p:grpSpPr>
          <p:sp>
            <p:nvSpPr>
              <p:cNvPr id="76" name="Rectangle 75">
                <a:extLst>
                  <a:ext uri="{FF2B5EF4-FFF2-40B4-BE49-F238E27FC236}">
                    <a16:creationId xmlns:a16="http://schemas.microsoft.com/office/drawing/2014/main" id="{7483C700-D1E0-4A80-9751-DD46FD24D0BD}"/>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Oval 76">
                <a:extLst>
                  <a:ext uri="{FF2B5EF4-FFF2-40B4-BE49-F238E27FC236}">
                    <a16:creationId xmlns:a16="http://schemas.microsoft.com/office/drawing/2014/main" id="{F2C91C4D-44ED-411B-9FDE-EB2699ED9B08}"/>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A6933F41-E031-46B0-BC1E-2255DA591C53}"/>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9" name="Group 58">
              <a:extLst>
                <a:ext uri="{FF2B5EF4-FFF2-40B4-BE49-F238E27FC236}">
                  <a16:creationId xmlns:a16="http://schemas.microsoft.com/office/drawing/2014/main" id="{51AC78E0-8605-4A2C-A5E0-E2BF13578C98}"/>
                </a:ext>
              </a:extLst>
            </p:cNvPr>
            <p:cNvGrpSpPr/>
            <p:nvPr/>
          </p:nvGrpSpPr>
          <p:grpSpPr>
            <a:xfrm>
              <a:off x="917753" y="956358"/>
              <a:ext cx="332634" cy="183753"/>
              <a:chOff x="1560101" y="3469185"/>
              <a:chExt cx="987231" cy="545364"/>
            </a:xfrm>
            <a:grpFill/>
          </p:grpSpPr>
          <p:sp>
            <p:nvSpPr>
              <p:cNvPr id="73" name="Oval 72">
                <a:extLst>
                  <a:ext uri="{FF2B5EF4-FFF2-40B4-BE49-F238E27FC236}">
                    <a16:creationId xmlns:a16="http://schemas.microsoft.com/office/drawing/2014/main" id="{1BEF7EBE-0A65-47DD-9378-DDFFF861C14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Rectangle 73">
                <a:extLst>
                  <a:ext uri="{FF2B5EF4-FFF2-40B4-BE49-F238E27FC236}">
                    <a16:creationId xmlns:a16="http://schemas.microsoft.com/office/drawing/2014/main" id="{6FDD92EF-78C2-41E3-9849-821D6ED93F0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1DB4FD17-32B4-48B0-AD6E-E58FC5A964E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0" name="Group 59">
              <a:extLst>
                <a:ext uri="{FF2B5EF4-FFF2-40B4-BE49-F238E27FC236}">
                  <a16:creationId xmlns:a16="http://schemas.microsoft.com/office/drawing/2014/main" id="{F530362A-CC14-46AD-8AF4-F37632E8A9F1}"/>
                </a:ext>
              </a:extLst>
            </p:cNvPr>
            <p:cNvGrpSpPr/>
            <p:nvPr/>
          </p:nvGrpSpPr>
          <p:grpSpPr>
            <a:xfrm>
              <a:off x="868078" y="608341"/>
              <a:ext cx="382309" cy="183753"/>
              <a:chOff x="1415887" y="2436300"/>
              <a:chExt cx="1134663" cy="545364"/>
            </a:xfrm>
            <a:grpFill/>
          </p:grpSpPr>
          <p:sp>
            <p:nvSpPr>
              <p:cNvPr id="70" name="Oval 69">
                <a:extLst>
                  <a:ext uri="{FF2B5EF4-FFF2-40B4-BE49-F238E27FC236}">
                    <a16:creationId xmlns:a16="http://schemas.microsoft.com/office/drawing/2014/main" id="{25DC9BB9-F4AA-4592-ACE1-133D0A49063B}"/>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6590F224-3AE8-461D-A0A2-6AC8C6280C06}"/>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Rectangle 71">
                <a:extLst>
                  <a:ext uri="{FF2B5EF4-FFF2-40B4-BE49-F238E27FC236}">
                    <a16:creationId xmlns:a16="http://schemas.microsoft.com/office/drawing/2014/main" id="{9EF452F0-5AA9-441C-BA9D-B30A3FB5E7FB}"/>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1" name="Group 60">
              <a:extLst>
                <a:ext uri="{FF2B5EF4-FFF2-40B4-BE49-F238E27FC236}">
                  <a16:creationId xmlns:a16="http://schemas.microsoft.com/office/drawing/2014/main" id="{F66A6130-1396-4D64-87C3-58B121F19519}"/>
                </a:ext>
              </a:extLst>
            </p:cNvPr>
            <p:cNvGrpSpPr/>
            <p:nvPr/>
          </p:nvGrpSpPr>
          <p:grpSpPr>
            <a:xfrm>
              <a:off x="693506" y="260324"/>
              <a:ext cx="556881" cy="183753"/>
              <a:chOff x="898206" y="1403413"/>
              <a:chExt cx="1652778" cy="545364"/>
            </a:xfrm>
            <a:grpFill/>
          </p:grpSpPr>
          <p:sp>
            <p:nvSpPr>
              <p:cNvPr id="67" name="Oval 66">
                <a:extLst>
                  <a:ext uri="{FF2B5EF4-FFF2-40B4-BE49-F238E27FC236}">
                    <a16:creationId xmlns:a16="http://schemas.microsoft.com/office/drawing/2014/main" id="{36895299-970E-497E-85D4-C86635487913}"/>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8" name="Oval 67">
                <a:extLst>
                  <a:ext uri="{FF2B5EF4-FFF2-40B4-BE49-F238E27FC236}">
                    <a16:creationId xmlns:a16="http://schemas.microsoft.com/office/drawing/2014/main" id="{D0B0A111-AC86-4432-9219-943869C6619B}"/>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Rectangle 68">
                <a:extLst>
                  <a:ext uri="{FF2B5EF4-FFF2-40B4-BE49-F238E27FC236}">
                    <a16:creationId xmlns:a16="http://schemas.microsoft.com/office/drawing/2014/main" id="{605F8A74-54AE-4A77-BF5D-0E4A482660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2" name="Freeform: Shape 61">
              <a:extLst>
                <a:ext uri="{FF2B5EF4-FFF2-40B4-BE49-F238E27FC236}">
                  <a16:creationId xmlns:a16="http://schemas.microsoft.com/office/drawing/2014/main" id="{9E02432C-76AD-4F2B-AECA-B20E080CFED7}"/>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3" name="Freeform: Shape 62">
              <a:extLst>
                <a:ext uri="{FF2B5EF4-FFF2-40B4-BE49-F238E27FC236}">
                  <a16:creationId xmlns:a16="http://schemas.microsoft.com/office/drawing/2014/main" id="{7FC28919-ED5E-4E8B-98AE-D594B2B91964}"/>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4" name="Freeform: Shape 63">
              <a:extLst>
                <a:ext uri="{FF2B5EF4-FFF2-40B4-BE49-F238E27FC236}">
                  <a16:creationId xmlns:a16="http://schemas.microsoft.com/office/drawing/2014/main" id="{816F1871-A80D-4526-85C6-1A2AB93072AA}"/>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Freeform: Shape 64">
              <a:extLst>
                <a:ext uri="{FF2B5EF4-FFF2-40B4-BE49-F238E27FC236}">
                  <a16:creationId xmlns:a16="http://schemas.microsoft.com/office/drawing/2014/main" id="{E157243A-7DAC-4244-9A5D-59FA3AF3790B}"/>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6" name="Freeform: Shape 65">
              <a:extLst>
                <a:ext uri="{FF2B5EF4-FFF2-40B4-BE49-F238E27FC236}">
                  <a16:creationId xmlns:a16="http://schemas.microsoft.com/office/drawing/2014/main" id="{A1B43125-5F2A-4430-912D-13E776DA379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82" name="Graphic 81">
            <a:extLst>
              <a:ext uri="{FF2B5EF4-FFF2-40B4-BE49-F238E27FC236}">
                <a16:creationId xmlns:a16="http://schemas.microsoft.com/office/drawing/2014/main" id="{201B25E1-AB0E-4EB5-A9AF-1983CB34E87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10376299" y="6535995"/>
            <a:ext cx="1143000" cy="215900"/>
          </a:xfrm>
          <a:prstGeom prst="rect">
            <a:avLst/>
          </a:prstGeom>
        </p:spPr>
      </p:pic>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969708" y="1566337"/>
            <a:ext cx="9687852"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8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800"/>
                <a:t>&lt;P&gt;</a:t>
              </a:r>
            </a:p>
          </p:txBody>
        </p:sp>
        <p:sp>
          <p:nvSpPr>
            <p:cNvPr id="24" name="Textbox" hidden="1"/>
            <p:cNvSpPr txBox="1">
              <a:spLocks/>
            </p:cNvSpPr>
            <p:nvPr userDrawn="1"/>
          </p:nvSpPr>
          <p:spPr>
            <a:xfrm>
              <a:off x="6977266" y="2085631"/>
              <a:ext cx="1257061" cy="369332"/>
            </a:xfrm>
            <a:prstGeom prst="rect">
              <a:avLst/>
            </a:prstGeom>
            <a:noFill/>
          </p:spPr>
          <p:txBody>
            <a:bodyPr wrap="none" rtlCol="0" anchor="ctr">
              <a:noAutofit/>
            </a:bodyPr>
            <a:lstStyle/>
            <a:p>
              <a:pPr algn="l"/>
              <a:r>
                <a:rPr lang="en-US" sz="1800"/>
                <a:t>&lt;TIMESLOT&gt;</a:t>
              </a:r>
            </a:p>
          </p:txBody>
        </p:sp>
        <p:sp>
          <p:nvSpPr>
            <p:cNvPr id="28" name="Textbox" hidden="1"/>
            <p:cNvSpPr txBox="1">
              <a:spLocks/>
            </p:cNvSpPr>
            <p:nvPr userDrawn="1"/>
          </p:nvSpPr>
          <p:spPr>
            <a:xfrm>
              <a:off x="5081388" y="2085631"/>
              <a:ext cx="1388067" cy="369332"/>
            </a:xfrm>
            <a:prstGeom prst="rect">
              <a:avLst/>
            </a:prstGeom>
            <a:noFill/>
          </p:spPr>
          <p:txBody>
            <a:bodyPr wrap="none" rtlCol="0" anchor="ctr">
              <a:noAutofit/>
            </a:bodyPr>
            <a:lstStyle/>
            <a:p>
              <a:pPr algn="l"/>
              <a:r>
                <a:rPr lang="en-US" sz="1800"/>
                <a:t>&lt;RESPONSIBLE&gt;</a:t>
              </a:r>
            </a:p>
          </p:txBody>
        </p:sp>
        <p:sp>
          <p:nvSpPr>
            <p:cNvPr id="29" name="Textbox" hidden="1"/>
            <p:cNvSpPr txBox="1">
              <a:spLocks/>
            </p:cNvSpPr>
            <p:nvPr userDrawn="1"/>
          </p:nvSpPr>
          <p:spPr>
            <a:xfrm>
              <a:off x="8458115" y="2085631"/>
              <a:ext cx="684723" cy="369332"/>
            </a:xfrm>
            <a:prstGeom prst="rect">
              <a:avLst/>
            </a:prstGeom>
            <a:noFill/>
          </p:spPr>
          <p:txBody>
            <a:bodyPr wrap="none" rtlCol="0" anchor="ctr">
              <a:noAutofit/>
            </a:bodyPr>
            <a:lstStyle/>
            <a:p>
              <a:pPr algn="l"/>
              <a:r>
                <a:rPr lang="en-US" sz="1800"/>
                <a:t>&lt;DURATION&gt;</a:t>
              </a:r>
            </a:p>
          </p:txBody>
        </p:sp>
      </p:grpSp>
      <p:grpSp>
        <p:nvGrpSpPr>
          <p:cNvPr id="4" name="SP Agenda Section Highlight" hidden="1"/>
          <p:cNvGrpSpPr>
            <a:grpSpLocks/>
          </p:cNvGrpSpPr>
          <p:nvPr userDrawn="1"/>
        </p:nvGrpSpPr>
        <p:grpSpPr>
          <a:xfrm>
            <a:off x="1969707" y="2097669"/>
            <a:ext cx="9687851" cy="369332"/>
            <a:chOff x="1797664" y="2616963"/>
            <a:chExt cx="8657274" cy="369332"/>
          </a:xfrm>
          <a:no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8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800" b="1"/>
                <a:t>&lt;P&gt;</a:t>
              </a:r>
            </a:p>
          </p:txBody>
        </p:sp>
        <p:sp>
          <p:nvSpPr>
            <p:cNvPr id="35" name="Textbox" hidden="1"/>
            <p:cNvSpPr txBox="1">
              <a:spLocks/>
            </p:cNvSpPr>
            <p:nvPr userDrawn="1"/>
          </p:nvSpPr>
          <p:spPr>
            <a:xfrm>
              <a:off x="6976061" y="2616963"/>
              <a:ext cx="1257061" cy="369332"/>
            </a:xfrm>
            <a:prstGeom prst="rect">
              <a:avLst/>
            </a:prstGeom>
            <a:grpFill/>
          </p:spPr>
          <p:txBody>
            <a:bodyPr wrap="none" rtlCol="0" anchor="ctr">
              <a:noAutofit/>
            </a:bodyPr>
            <a:lstStyle/>
            <a:p>
              <a:pPr algn="l"/>
              <a:r>
                <a:rPr lang="en-US" sz="1800" b="1"/>
                <a:t>&lt;TIMESLOT&gt;</a:t>
              </a:r>
            </a:p>
          </p:txBody>
        </p:sp>
        <p:sp>
          <p:nvSpPr>
            <p:cNvPr id="36" name="Textbox" hidden="1"/>
            <p:cNvSpPr txBox="1">
              <a:spLocks/>
            </p:cNvSpPr>
            <p:nvPr userDrawn="1"/>
          </p:nvSpPr>
          <p:spPr>
            <a:xfrm>
              <a:off x="5072510" y="2616963"/>
              <a:ext cx="1388067" cy="369332"/>
            </a:xfrm>
            <a:prstGeom prst="rect">
              <a:avLst/>
            </a:prstGeom>
            <a:grpFill/>
          </p:spPr>
          <p:txBody>
            <a:bodyPr wrap="none" rtlCol="0" anchor="ctr">
              <a:noAutofit/>
            </a:bodyPr>
            <a:lstStyle/>
            <a:p>
              <a:pPr algn="l"/>
              <a:r>
                <a:rPr lang="en-US" sz="1800" b="1"/>
                <a:t>&lt;RESPONSIBLE&gt;</a:t>
              </a:r>
            </a:p>
          </p:txBody>
        </p:sp>
        <p:sp>
          <p:nvSpPr>
            <p:cNvPr id="37" name="Textbox" hidden="1"/>
            <p:cNvSpPr txBox="1">
              <a:spLocks/>
            </p:cNvSpPr>
            <p:nvPr userDrawn="1"/>
          </p:nvSpPr>
          <p:spPr>
            <a:xfrm>
              <a:off x="8468205" y="2616963"/>
              <a:ext cx="684723" cy="369332"/>
            </a:xfrm>
            <a:prstGeom prst="rect">
              <a:avLst/>
            </a:prstGeom>
            <a:grpFill/>
          </p:spPr>
          <p:txBody>
            <a:bodyPr wrap="none" rtlCol="0" anchor="ctr">
              <a:noAutofit/>
            </a:bodyPr>
            <a:lstStyle/>
            <a:p>
              <a:pPr algn="l"/>
              <a:r>
                <a:rPr lang="en-US" sz="1800" b="1"/>
                <a:t>&lt;DURATION&gt;</a:t>
              </a:r>
            </a:p>
          </p:txBody>
        </p:sp>
      </p:grpSp>
      <p:grpSp>
        <p:nvGrpSpPr>
          <p:cNvPr id="8" name="SP Agenda Subsection" hidden="1"/>
          <p:cNvGrpSpPr>
            <a:grpSpLocks/>
          </p:cNvGrpSpPr>
          <p:nvPr userDrawn="1"/>
        </p:nvGrpSpPr>
        <p:grpSpPr>
          <a:xfrm>
            <a:off x="2437849" y="2427296"/>
            <a:ext cx="9163984"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6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600"/>
                <a:t>&lt;P&gt;</a:t>
              </a:r>
            </a:p>
          </p:txBody>
        </p:sp>
        <p:sp>
          <p:nvSpPr>
            <p:cNvPr id="42" name="Textbox" hidden="1"/>
            <p:cNvSpPr txBox="1">
              <a:spLocks/>
            </p:cNvSpPr>
            <p:nvPr userDrawn="1"/>
          </p:nvSpPr>
          <p:spPr>
            <a:xfrm>
              <a:off x="7026505" y="3155687"/>
              <a:ext cx="1257061" cy="369332"/>
            </a:xfrm>
            <a:prstGeom prst="rect">
              <a:avLst/>
            </a:prstGeom>
            <a:noFill/>
          </p:spPr>
          <p:txBody>
            <a:bodyPr wrap="none" rtlCol="0" anchor="ctr">
              <a:noAutofit/>
            </a:bodyPr>
            <a:lstStyle/>
            <a:p>
              <a:pPr algn="l"/>
              <a:r>
                <a:rPr lang="en-US" sz="1600"/>
                <a:t>&lt;TIMESLOT&gt;</a:t>
              </a:r>
            </a:p>
          </p:txBody>
        </p:sp>
        <p:sp>
          <p:nvSpPr>
            <p:cNvPr id="43" name="Textbox" hidden="1"/>
            <p:cNvSpPr txBox="1">
              <a:spLocks/>
            </p:cNvSpPr>
            <p:nvPr userDrawn="1"/>
          </p:nvSpPr>
          <p:spPr>
            <a:xfrm>
              <a:off x="5124151" y="3155687"/>
              <a:ext cx="1388067" cy="369332"/>
            </a:xfrm>
            <a:prstGeom prst="rect">
              <a:avLst/>
            </a:prstGeom>
            <a:noFill/>
          </p:spPr>
          <p:txBody>
            <a:bodyPr wrap="none" rtlCol="0" anchor="ctr">
              <a:noAutofit/>
            </a:bodyPr>
            <a:lstStyle/>
            <a:p>
              <a:pPr algn="l"/>
              <a:r>
                <a:rPr lang="en-US" sz="1600"/>
                <a:t>&lt;RESPONSIBLE&gt;</a:t>
              </a:r>
            </a:p>
          </p:txBody>
        </p:sp>
        <p:sp>
          <p:nvSpPr>
            <p:cNvPr id="44" name="Textbox" hidden="1"/>
            <p:cNvSpPr txBox="1">
              <a:spLocks/>
            </p:cNvSpPr>
            <p:nvPr userDrawn="1"/>
          </p:nvSpPr>
          <p:spPr>
            <a:xfrm>
              <a:off x="8508554" y="3155687"/>
              <a:ext cx="684723" cy="369332"/>
            </a:xfrm>
            <a:prstGeom prst="rect">
              <a:avLst/>
            </a:prstGeom>
            <a:noFill/>
          </p:spPr>
          <p:txBody>
            <a:bodyPr wrap="none" rtlCol="0" anchor="ctr">
              <a:noAutofit/>
            </a:bodyPr>
            <a:lstStyle/>
            <a:p>
              <a:pPr algn="l"/>
              <a:r>
                <a:rPr lang="en-US" sz="1600"/>
                <a:t>&lt;DURATION&gt;</a:t>
              </a:r>
            </a:p>
          </p:txBody>
        </p:sp>
      </p:grpSp>
      <p:grpSp>
        <p:nvGrpSpPr>
          <p:cNvPr id="9" name="SP Agenda Subsection Highlight" hidden="1"/>
          <p:cNvGrpSpPr>
            <a:grpSpLocks/>
          </p:cNvGrpSpPr>
          <p:nvPr userDrawn="1"/>
        </p:nvGrpSpPr>
        <p:grpSpPr>
          <a:xfrm>
            <a:off x="2437847" y="2783817"/>
            <a:ext cx="9163983" cy="369332"/>
            <a:chOff x="2265804" y="3694411"/>
            <a:chExt cx="8189134" cy="369332"/>
          </a:xfrm>
          <a:no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6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600" b="1"/>
                <a:t>&lt;P&gt;</a:t>
              </a:r>
            </a:p>
          </p:txBody>
        </p:sp>
        <p:sp>
          <p:nvSpPr>
            <p:cNvPr id="49" name="Textbox" hidden="1"/>
            <p:cNvSpPr txBox="1">
              <a:spLocks/>
            </p:cNvSpPr>
            <p:nvPr userDrawn="1"/>
          </p:nvSpPr>
          <p:spPr>
            <a:xfrm>
              <a:off x="7026504" y="3694411"/>
              <a:ext cx="1257061" cy="369332"/>
            </a:xfrm>
            <a:prstGeom prst="rect">
              <a:avLst/>
            </a:prstGeom>
            <a:grpFill/>
          </p:spPr>
          <p:txBody>
            <a:bodyPr wrap="none" rtlCol="0" anchor="ctr">
              <a:noAutofit/>
            </a:bodyPr>
            <a:lstStyle/>
            <a:p>
              <a:pPr algn="l"/>
              <a:r>
                <a:rPr lang="en-US" sz="1600" b="1"/>
                <a:t>&lt;TIMESLOT&gt;</a:t>
              </a:r>
            </a:p>
          </p:txBody>
        </p:sp>
        <p:sp>
          <p:nvSpPr>
            <p:cNvPr id="50" name="Textbox" hidden="1"/>
            <p:cNvSpPr txBox="1">
              <a:spLocks/>
            </p:cNvSpPr>
            <p:nvPr userDrawn="1"/>
          </p:nvSpPr>
          <p:spPr>
            <a:xfrm>
              <a:off x="5134235" y="3694411"/>
              <a:ext cx="1388067" cy="369332"/>
            </a:xfrm>
            <a:prstGeom prst="rect">
              <a:avLst/>
            </a:prstGeom>
            <a:grpFill/>
          </p:spPr>
          <p:txBody>
            <a:bodyPr wrap="none" rtlCol="0" anchor="ctr">
              <a:noAutofit/>
            </a:bodyPr>
            <a:lstStyle/>
            <a:p>
              <a:pPr algn="l"/>
              <a:r>
                <a:rPr lang="en-US" sz="1600" b="1"/>
                <a:t>&lt;RESPONSIBLE&gt;</a:t>
              </a:r>
            </a:p>
          </p:txBody>
        </p:sp>
        <p:sp>
          <p:nvSpPr>
            <p:cNvPr id="51" name="Textbox" hidden="1"/>
            <p:cNvSpPr txBox="1">
              <a:spLocks/>
            </p:cNvSpPr>
            <p:nvPr userDrawn="1"/>
          </p:nvSpPr>
          <p:spPr>
            <a:xfrm>
              <a:off x="8508551" y="3694411"/>
              <a:ext cx="684723" cy="369332"/>
            </a:xfrm>
            <a:prstGeom prst="rect">
              <a:avLst/>
            </a:prstGeom>
            <a:grpFill/>
          </p:spPr>
          <p:txBody>
            <a:bodyPr wrap="none" rtlCol="0" anchor="ctr">
              <a:noAutofit/>
            </a:bodyPr>
            <a:lstStyle/>
            <a:p>
              <a:pPr algn="l"/>
              <a:r>
                <a:rPr lang="en-US" sz="1600" b="1"/>
                <a:t>&lt;DURATION&gt;</a:t>
              </a:r>
            </a:p>
          </p:txBody>
        </p:sp>
      </p:grpSp>
      <p:sp>
        <p:nvSpPr>
          <p:cNvPr id="52" name="Title 1">
            <a:extLst>
              <a:ext uri="{FF2B5EF4-FFF2-40B4-BE49-F238E27FC236}">
                <a16:creationId xmlns:a16="http://schemas.microsoft.com/office/drawing/2014/main" id="{3F6B5101-F0DA-4DEA-9130-F26443CAEBFB}"/>
              </a:ext>
            </a:extLst>
          </p:cNvPr>
          <p:cNvSpPr>
            <a:spLocks noGrp="1"/>
          </p:cNvSpPr>
          <p:nvPr userDrawn="1">
            <p:ph type="title" sz="quarter" idx="14" hasCustomPrompt="1"/>
          </p:nvPr>
        </p:nvSpPr>
        <p:spPr>
          <a:xfrm>
            <a:off x="1973995" y="861658"/>
            <a:ext cx="9163983" cy="557611"/>
          </a:xfrm>
          <a:prstGeom prst="rect">
            <a:avLst/>
          </a:prstGeom>
        </p:spPr>
        <p:txBody>
          <a:bodyPr/>
          <a:lstStyle>
            <a:lvl1pPr>
              <a:defRPr lang="en-US" sz="3200" b="1" kern="1200" dirty="0">
                <a:solidFill>
                  <a:schemeClr val="accent1"/>
                </a:solidFill>
                <a:latin typeface="+mj-lt"/>
                <a:ea typeface="+mj-ea"/>
                <a:cs typeface="+mj-cs"/>
              </a:defRPr>
            </a:lvl1pPr>
          </a:lstStyle>
          <a:p>
            <a:r>
              <a:rPr lang="en-US"/>
              <a:t>Agenda</a:t>
            </a:r>
          </a:p>
        </p:txBody>
      </p:sp>
    </p:spTree>
    <p:extLst>
      <p:ext uri="{BB962C8B-B14F-4D97-AF65-F5344CB8AC3E}">
        <p14:creationId xmlns:p14="http://schemas.microsoft.com/office/powerpoint/2010/main" val="95346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23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sp>
        <p:nvSpPr>
          <p:cNvPr id="17" name="Rectangle 16">
            <a:extLst>
              <a:ext uri="{FF2B5EF4-FFF2-40B4-BE49-F238E27FC236}">
                <a16:creationId xmlns:a16="http://schemas.microsoft.com/office/drawing/2014/main" id="{42F00995-10B9-4A6A-A2A1-D8A31142B41D}"/>
              </a:ext>
            </a:extLst>
          </p:cNvPr>
          <p:cNvSpPr/>
          <p:nvPr userDrawn="1"/>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grpSp>
        <p:nvGrpSpPr>
          <p:cNvPr id="18" name="Group 17">
            <a:extLst>
              <a:ext uri="{FF2B5EF4-FFF2-40B4-BE49-F238E27FC236}">
                <a16:creationId xmlns:a16="http://schemas.microsoft.com/office/drawing/2014/main" id="{E9C9D346-85EB-40B2-8A2B-19DB2A92DB2A}"/>
              </a:ext>
            </a:extLst>
          </p:cNvPr>
          <p:cNvGrpSpPr/>
          <p:nvPr userDrawn="1"/>
        </p:nvGrpSpPr>
        <p:grpSpPr>
          <a:xfrm>
            <a:off x="-1" y="260324"/>
            <a:ext cx="1250388" cy="1575820"/>
            <a:chOff x="-1" y="260324"/>
            <a:chExt cx="1250388" cy="1575820"/>
          </a:xfrm>
          <a:solidFill>
            <a:schemeClr val="accent1"/>
          </a:solidFill>
        </p:grpSpPr>
        <p:grpSp>
          <p:nvGrpSpPr>
            <p:cNvPr id="19" name="Group 18">
              <a:extLst>
                <a:ext uri="{FF2B5EF4-FFF2-40B4-BE49-F238E27FC236}">
                  <a16:creationId xmlns:a16="http://schemas.microsoft.com/office/drawing/2014/main" id="{9EC268BA-C08A-4C38-97B6-E94209031785}"/>
                </a:ext>
              </a:extLst>
            </p:cNvPr>
            <p:cNvGrpSpPr/>
            <p:nvPr/>
          </p:nvGrpSpPr>
          <p:grpSpPr>
            <a:xfrm>
              <a:off x="686264" y="1652391"/>
              <a:ext cx="564123" cy="183753"/>
              <a:chOff x="876236" y="5534957"/>
              <a:chExt cx="1674271" cy="545364"/>
            </a:xfrm>
            <a:grpFill/>
          </p:grpSpPr>
          <p:sp>
            <p:nvSpPr>
              <p:cNvPr id="42" name="Rectangle 41">
                <a:extLst>
                  <a:ext uri="{FF2B5EF4-FFF2-40B4-BE49-F238E27FC236}">
                    <a16:creationId xmlns:a16="http://schemas.microsoft.com/office/drawing/2014/main" id="{AC0A5C8E-81CB-414E-A1C6-77485EDBFC17}"/>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3" name="Oval 42">
                <a:extLst>
                  <a:ext uri="{FF2B5EF4-FFF2-40B4-BE49-F238E27FC236}">
                    <a16:creationId xmlns:a16="http://schemas.microsoft.com/office/drawing/2014/main" id="{0A73BE3A-3964-409D-9E42-4EB69AD5953D}"/>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4" name="Oval 43">
                <a:extLst>
                  <a:ext uri="{FF2B5EF4-FFF2-40B4-BE49-F238E27FC236}">
                    <a16:creationId xmlns:a16="http://schemas.microsoft.com/office/drawing/2014/main" id="{9A92D2EB-3DBC-490E-9DE6-A92EF29FE7E2}"/>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0" name="Group 19">
              <a:extLst>
                <a:ext uri="{FF2B5EF4-FFF2-40B4-BE49-F238E27FC236}">
                  <a16:creationId xmlns:a16="http://schemas.microsoft.com/office/drawing/2014/main" id="{A153A842-B929-48CB-AC66-68DD2D7ED4D2}"/>
                </a:ext>
              </a:extLst>
            </p:cNvPr>
            <p:cNvGrpSpPr/>
            <p:nvPr/>
          </p:nvGrpSpPr>
          <p:grpSpPr>
            <a:xfrm>
              <a:off x="864211" y="1304375"/>
              <a:ext cx="386176" cy="183753"/>
              <a:chOff x="1404367" y="4502072"/>
              <a:chExt cx="1146140" cy="545364"/>
            </a:xfrm>
            <a:grpFill/>
          </p:grpSpPr>
          <p:sp>
            <p:nvSpPr>
              <p:cNvPr id="39" name="Rectangle 38">
                <a:extLst>
                  <a:ext uri="{FF2B5EF4-FFF2-40B4-BE49-F238E27FC236}">
                    <a16:creationId xmlns:a16="http://schemas.microsoft.com/office/drawing/2014/main" id="{A3A6D6D3-9DC7-41F4-AC58-52BDA1658FE3}"/>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0" name="Oval 39">
                <a:extLst>
                  <a:ext uri="{FF2B5EF4-FFF2-40B4-BE49-F238E27FC236}">
                    <a16:creationId xmlns:a16="http://schemas.microsoft.com/office/drawing/2014/main" id="{AC7A9326-EAFC-4BAF-BD47-91FF55716EE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Oval 40">
                <a:extLst>
                  <a:ext uri="{FF2B5EF4-FFF2-40B4-BE49-F238E27FC236}">
                    <a16:creationId xmlns:a16="http://schemas.microsoft.com/office/drawing/2014/main" id="{66675D94-1BEA-4F59-867F-291905A75405}"/>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1" name="Group 20">
              <a:extLst>
                <a:ext uri="{FF2B5EF4-FFF2-40B4-BE49-F238E27FC236}">
                  <a16:creationId xmlns:a16="http://schemas.microsoft.com/office/drawing/2014/main" id="{1C137B59-F0EB-480E-952E-51A98CA99A32}"/>
                </a:ext>
              </a:extLst>
            </p:cNvPr>
            <p:cNvGrpSpPr/>
            <p:nvPr/>
          </p:nvGrpSpPr>
          <p:grpSpPr>
            <a:xfrm>
              <a:off x="917753" y="956358"/>
              <a:ext cx="332634" cy="183753"/>
              <a:chOff x="1560101" y="3469185"/>
              <a:chExt cx="987231" cy="545364"/>
            </a:xfrm>
            <a:grpFill/>
          </p:grpSpPr>
          <p:sp>
            <p:nvSpPr>
              <p:cNvPr id="36" name="Oval 35">
                <a:extLst>
                  <a:ext uri="{FF2B5EF4-FFF2-40B4-BE49-F238E27FC236}">
                    <a16:creationId xmlns:a16="http://schemas.microsoft.com/office/drawing/2014/main" id="{EDAD1D9C-8748-4EC9-AD40-477548367950}"/>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7" name="Rectangle 36">
                <a:extLst>
                  <a:ext uri="{FF2B5EF4-FFF2-40B4-BE49-F238E27FC236}">
                    <a16:creationId xmlns:a16="http://schemas.microsoft.com/office/drawing/2014/main" id="{FF2B152B-EE67-4339-A086-F1E97AAEF67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8" name="Oval 37">
                <a:extLst>
                  <a:ext uri="{FF2B5EF4-FFF2-40B4-BE49-F238E27FC236}">
                    <a16:creationId xmlns:a16="http://schemas.microsoft.com/office/drawing/2014/main" id="{D80C8650-55C9-4ED2-B40D-671610C2D69F}"/>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2" name="Group 21">
              <a:extLst>
                <a:ext uri="{FF2B5EF4-FFF2-40B4-BE49-F238E27FC236}">
                  <a16:creationId xmlns:a16="http://schemas.microsoft.com/office/drawing/2014/main" id="{5F016A28-1188-4CF9-A204-346551675888}"/>
                </a:ext>
              </a:extLst>
            </p:cNvPr>
            <p:cNvGrpSpPr/>
            <p:nvPr/>
          </p:nvGrpSpPr>
          <p:grpSpPr>
            <a:xfrm>
              <a:off x="868078" y="608341"/>
              <a:ext cx="382309" cy="183753"/>
              <a:chOff x="1415887" y="2436300"/>
              <a:chExt cx="1134663" cy="545364"/>
            </a:xfrm>
            <a:grpFill/>
          </p:grpSpPr>
          <p:sp>
            <p:nvSpPr>
              <p:cNvPr id="33" name="Oval 32">
                <a:extLst>
                  <a:ext uri="{FF2B5EF4-FFF2-40B4-BE49-F238E27FC236}">
                    <a16:creationId xmlns:a16="http://schemas.microsoft.com/office/drawing/2014/main" id="{1F0BBD90-3BB0-4D0C-B89D-7E109C4092D2}"/>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4" name="Oval 33">
                <a:extLst>
                  <a:ext uri="{FF2B5EF4-FFF2-40B4-BE49-F238E27FC236}">
                    <a16:creationId xmlns:a16="http://schemas.microsoft.com/office/drawing/2014/main" id="{3D9233E7-53E5-4B79-82EA-2FE7639DA27D}"/>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5" name="Rectangle 34">
                <a:extLst>
                  <a:ext uri="{FF2B5EF4-FFF2-40B4-BE49-F238E27FC236}">
                    <a16:creationId xmlns:a16="http://schemas.microsoft.com/office/drawing/2014/main" id="{468CFD81-83EF-41DD-B6FB-6828FFB099DC}"/>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3" name="Group 22">
              <a:extLst>
                <a:ext uri="{FF2B5EF4-FFF2-40B4-BE49-F238E27FC236}">
                  <a16:creationId xmlns:a16="http://schemas.microsoft.com/office/drawing/2014/main" id="{F872365B-E981-4D60-893C-E24687F967AA}"/>
                </a:ext>
              </a:extLst>
            </p:cNvPr>
            <p:cNvGrpSpPr/>
            <p:nvPr/>
          </p:nvGrpSpPr>
          <p:grpSpPr>
            <a:xfrm>
              <a:off x="693506" y="260324"/>
              <a:ext cx="556881" cy="183753"/>
              <a:chOff x="898206" y="1403413"/>
              <a:chExt cx="1652778" cy="545364"/>
            </a:xfrm>
            <a:grpFill/>
          </p:grpSpPr>
          <p:sp>
            <p:nvSpPr>
              <p:cNvPr id="29" name="Oval 28">
                <a:extLst>
                  <a:ext uri="{FF2B5EF4-FFF2-40B4-BE49-F238E27FC236}">
                    <a16:creationId xmlns:a16="http://schemas.microsoft.com/office/drawing/2014/main" id="{A4BD07C3-2F57-48F4-B516-D42D36912922}"/>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0" name="Oval 29">
                <a:extLst>
                  <a:ext uri="{FF2B5EF4-FFF2-40B4-BE49-F238E27FC236}">
                    <a16:creationId xmlns:a16="http://schemas.microsoft.com/office/drawing/2014/main" id="{3F796E19-36EC-4E6A-8CAE-97721033032D}"/>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2" name="Rectangle 31">
                <a:extLst>
                  <a:ext uri="{FF2B5EF4-FFF2-40B4-BE49-F238E27FC236}">
                    <a16:creationId xmlns:a16="http://schemas.microsoft.com/office/drawing/2014/main" id="{AE142AC5-EE61-4F8A-9941-60615E682C21}"/>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24" name="Freeform: Shape 23">
              <a:extLst>
                <a:ext uri="{FF2B5EF4-FFF2-40B4-BE49-F238E27FC236}">
                  <a16:creationId xmlns:a16="http://schemas.microsoft.com/office/drawing/2014/main" id="{043EB0B0-5EC9-43DD-A335-A8A5722F2E8C}"/>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5" name="Freeform: Shape 24">
              <a:extLst>
                <a:ext uri="{FF2B5EF4-FFF2-40B4-BE49-F238E27FC236}">
                  <a16:creationId xmlns:a16="http://schemas.microsoft.com/office/drawing/2014/main" id="{0AE73A40-5122-4D00-814E-72F7502483D0}"/>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6" name="Freeform: Shape 25">
              <a:extLst>
                <a:ext uri="{FF2B5EF4-FFF2-40B4-BE49-F238E27FC236}">
                  <a16:creationId xmlns:a16="http://schemas.microsoft.com/office/drawing/2014/main" id="{E178B33C-2AF6-478C-94A2-893456F15E89}"/>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7" name="Freeform: Shape 26">
              <a:extLst>
                <a:ext uri="{FF2B5EF4-FFF2-40B4-BE49-F238E27FC236}">
                  <a16:creationId xmlns:a16="http://schemas.microsoft.com/office/drawing/2014/main" id="{E79D8600-BF22-41AD-AF89-75D968F92C72}"/>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28" name="Freeform: Shape 27">
              <a:extLst>
                <a:ext uri="{FF2B5EF4-FFF2-40B4-BE49-F238E27FC236}">
                  <a16:creationId xmlns:a16="http://schemas.microsoft.com/office/drawing/2014/main" id="{CD59CC96-A48C-4AC4-AE70-D24AB2FB8D16}"/>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45" name="Graphic 44">
            <a:extLst>
              <a:ext uri="{FF2B5EF4-FFF2-40B4-BE49-F238E27FC236}">
                <a16:creationId xmlns:a16="http://schemas.microsoft.com/office/drawing/2014/main" id="{935AE6DF-F5B6-4C49-9F72-CF1C8061190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376299" y="6535995"/>
            <a:ext cx="1143000" cy="215900"/>
          </a:xfrm>
          <a:prstGeom prst="rect">
            <a:avLst/>
          </a:prstGeom>
        </p:spPr>
      </p:pic>
      <p:sp>
        <p:nvSpPr>
          <p:cNvPr id="88" name="Title 1">
            <a:extLst>
              <a:ext uri="{FF2B5EF4-FFF2-40B4-BE49-F238E27FC236}">
                <a16:creationId xmlns:a16="http://schemas.microsoft.com/office/drawing/2014/main" id="{D6B9EAB4-6E88-49E6-A646-370B36253FD6}"/>
              </a:ext>
            </a:extLst>
          </p:cNvPr>
          <p:cNvSpPr>
            <a:spLocks noGrp="1"/>
          </p:cNvSpPr>
          <p:nvPr>
            <p:ph type="title" sz="quarter" idx="14" hasCustomPrompt="1"/>
          </p:nvPr>
        </p:nvSpPr>
        <p:spPr>
          <a:xfrm>
            <a:off x="1973995" y="861658"/>
            <a:ext cx="9163983" cy="557611"/>
          </a:xfrm>
          <a:prstGeom prst="rect">
            <a:avLst/>
          </a:prstGeom>
        </p:spPr>
        <p:txBody>
          <a:bodyPr/>
          <a:lstStyle>
            <a:lvl1pPr>
              <a:defRPr lang="en-US" sz="3200" b="1" kern="1200" dirty="0">
                <a:solidFill>
                  <a:schemeClr val="accent1"/>
                </a:solidFill>
                <a:latin typeface="+mj-lt"/>
                <a:ea typeface="+mj-ea"/>
                <a:cs typeface="+mj-cs"/>
              </a:defRPr>
            </a:lvl1pPr>
          </a:lstStyle>
          <a:p>
            <a:r>
              <a:rPr lang="en-US"/>
              <a:t>Agenda</a:t>
            </a:r>
          </a:p>
        </p:txBody>
      </p:sp>
      <p:grpSp>
        <p:nvGrpSpPr>
          <p:cNvPr id="131" name="SP Agenda Section" hidden="1">
            <a:extLst>
              <a:ext uri="{FF2B5EF4-FFF2-40B4-BE49-F238E27FC236}">
                <a16:creationId xmlns:a16="http://schemas.microsoft.com/office/drawing/2014/main" id="{21AB9CC0-C368-4852-9236-7A04591F0217}"/>
              </a:ext>
            </a:extLst>
          </p:cNvPr>
          <p:cNvGrpSpPr/>
          <p:nvPr userDrawn="1"/>
        </p:nvGrpSpPr>
        <p:grpSpPr>
          <a:xfrm>
            <a:off x="1969708" y="1566337"/>
            <a:ext cx="9687852" cy="369332"/>
            <a:chOff x="1797664" y="2085631"/>
            <a:chExt cx="8657274" cy="369332"/>
          </a:xfrm>
        </p:grpSpPr>
        <p:sp>
          <p:nvSpPr>
            <p:cNvPr id="132" name="Textbox" hidden="1">
              <a:extLst>
                <a:ext uri="{FF2B5EF4-FFF2-40B4-BE49-F238E27FC236}">
                  <a16:creationId xmlns:a16="http://schemas.microsoft.com/office/drawing/2014/main" id="{3AB182DB-D8C0-4F05-B8C9-681A6EC8A82C}"/>
                </a:ext>
              </a:extLst>
            </p:cNvPr>
            <p:cNvSpPr txBox="1">
              <a:spLocks/>
            </p:cNvSpPr>
            <p:nvPr userDrawn="1"/>
          </p:nvSpPr>
          <p:spPr>
            <a:xfrm>
              <a:off x="2267220" y="2085631"/>
              <a:ext cx="3843347" cy="369332"/>
            </a:xfrm>
            <a:prstGeom prst="rect">
              <a:avLst/>
            </a:prstGeom>
            <a:no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a:t>&lt;TEXT&gt;</a:t>
              </a:r>
            </a:p>
          </p:txBody>
        </p:sp>
        <p:sp>
          <p:nvSpPr>
            <p:cNvPr id="133" name="Textbox" hidden="1">
              <a:extLst>
                <a:ext uri="{FF2B5EF4-FFF2-40B4-BE49-F238E27FC236}">
                  <a16:creationId xmlns:a16="http://schemas.microsoft.com/office/drawing/2014/main" id="{1F506675-9953-420C-89AA-C48CBADE5AD6}"/>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800"/>
                <a:t>&lt;N&gt;</a:t>
              </a:r>
            </a:p>
          </p:txBody>
        </p:sp>
        <p:sp>
          <p:nvSpPr>
            <p:cNvPr id="134" name="Textbox" hidden="1">
              <a:extLst>
                <a:ext uri="{FF2B5EF4-FFF2-40B4-BE49-F238E27FC236}">
                  <a16:creationId xmlns:a16="http://schemas.microsoft.com/office/drawing/2014/main" id="{D7797BBE-CC80-4DBD-8171-2402556AAA73}"/>
                </a:ext>
              </a:extLst>
            </p:cNvPr>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800"/>
                <a:t>&lt;P&gt;</a:t>
              </a:r>
            </a:p>
          </p:txBody>
        </p:sp>
        <p:sp>
          <p:nvSpPr>
            <p:cNvPr id="135" name="Textbox" hidden="1">
              <a:extLst>
                <a:ext uri="{FF2B5EF4-FFF2-40B4-BE49-F238E27FC236}">
                  <a16:creationId xmlns:a16="http://schemas.microsoft.com/office/drawing/2014/main" id="{C0C0C783-AD38-40F8-99C4-2E90BDEEFE3E}"/>
                </a:ext>
              </a:extLst>
            </p:cNvPr>
            <p:cNvSpPr txBox="1">
              <a:spLocks/>
            </p:cNvSpPr>
            <p:nvPr userDrawn="1"/>
          </p:nvSpPr>
          <p:spPr>
            <a:xfrm>
              <a:off x="6977266" y="2085631"/>
              <a:ext cx="1257061" cy="369332"/>
            </a:xfrm>
            <a:prstGeom prst="rect">
              <a:avLst/>
            </a:prstGeom>
            <a:noFill/>
          </p:spPr>
          <p:txBody>
            <a:bodyPr wrap="none" rtlCol="0" anchor="ctr">
              <a:noAutofit/>
            </a:bodyPr>
            <a:lstStyle/>
            <a:p>
              <a:pPr algn="l"/>
              <a:r>
                <a:rPr lang="en-US" sz="1800"/>
                <a:t>&lt;TIMESLOT&gt;</a:t>
              </a:r>
            </a:p>
          </p:txBody>
        </p:sp>
        <p:sp>
          <p:nvSpPr>
            <p:cNvPr id="136" name="Textbox" hidden="1">
              <a:extLst>
                <a:ext uri="{FF2B5EF4-FFF2-40B4-BE49-F238E27FC236}">
                  <a16:creationId xmlns:a16="http://schemas.microsoft.com/office/drawing/2014/main" id="{272C9E9E-6641-4422-93BE-737BE02E7530}"/>
                </a:ext>
              </a:extLst>
            </p:cNvPr>
            <p:cNvSpPr txBox="1">
              <a:spLocks/>
            </p:cNvSpPr>
            <p:nvPr userDrawn="1"/>
          </p:nvSpPr>
          <p:spPr>
            <a:xfrm>
              <a:off x="5081388" y="2085631"/>
              <a:ext cx="1388067" cy="369332"/>
            </a:xfrm>
            <a:prstGeom prst="rect">
              <a:avLst/>
            </a:prstGeom>
            <a:noFill/>
          </p:spPr>
          <p:txBody>
            <a:bodyPr wrap="none" rtlCol="0" anchor="ctr">
              <a:noAutofit/>
            </a:bodyPr>
            <a:lstStyle/>
            <a:p>
              <a:pPr algn="l"/>
              <a:r>
                <a:rPr lang="en-US" sz="1800"/>
                <a:t>&lt;RESPONSIBLE&gt;</a:t>
              </a:r>
            </a:p>
          </p:txBody>
        </p:sp>
        <p:sp>
          <p:nvSpPr>
            <p:cNvPr id="137" name="Textbox" hidden="1">
              <a:extLst>
                <a:ext uri="{FF2B5EF4-FFF2-40B4-BE49-F238E27FC236}">
                  <a16:creationId xmlns:a16="http://schemas.microsoft.com/office/drawing/2014/main" id="{89D1EE13-FE88-4A51-9BBF-320DFE848785}"/>
                </a:ext>
              </a:extLst>
            </p:cNvPr>
            <p:cNvSpPr txBox="1">
              <a:spLocks/>
            </p:cNvSpPr>
            <p:nvPr userDrawn="1"/>
          </p:nvSpPr>
          <p:spPr>
            <a:xfrm>
              <a:off x="8458115" y="2085631"/>
              <a:ext cx="684723" cy="369332"/>
            </a:xfrm>
            <a:prstGeom prst="rect">
              <a:avLst/>
            </a:prstGeom>
            <a:noFill/>
          </p:spPr>
          <p:txBody>
            <a:bodyPr wrap="none" rtlCol="0" anchor="ctr">
              <a:noAutofit/>
            </a:bodyPr>
            <a:lstStyle/>
            <a:p>
              <a:pPr algn="l"/>
              <a:r>
                <a:rPr lang="en-US" sz="1800"/>
                <a:t>&lt;DURATION&gt;</a:t>
              </a:r>
            </a:p>
          </p:txBody>
        </p:sp>
      </p:grpSp>
      <p:grpSp>
        <p:nvGrpSpPr>
          <p:cNvPr id="138" name="SP Agenda Section Highlight" hidden="1">
            <a:extLst>
              <a:ext uri="{FF2B5EF4-FFF2-40B4-BE49-F238E27FC236}">
                <a16:creationId xmlns:a16="http://schemas.microsoft.com/office/drawing/2014/main" id="{4F5D7C69-1EDC-456E-86E7-4B93FE001C11}"/>
              </a:ext>
            </a:extLst>
          </p:cNvPr>
          <p:cNvGrpSpPr>
            <a:grpSpLocks/>
          </p:cNvGrpSpPr>
          <p:nvPr userDrawn="1"/>
        </p:nvGrpSpPr>
        <p:grpSpPr>
          <a:xfrm>
            <a:off x="1969707" y="2097669"/>
            <a:ext cx="9687851" cy="369332"/>
            <a:chOff x="1797664" y="2616963"/>
            <a:chExt cx="8657274" cy="369332"/>
          </a:xfrm>
          <a:noFill/>
        </p:grpSpPr>
        <p:sp>
          <p:nvSpPr>
            <p:cNvPr id="139" name="Textbox" hidden="1">
              <a:extLst>
                <a:ext uri="{FF2B5EF4-FFF2-40B4-BE49-F238E27FC236}">
                  <a16:creationId xmlns:a16="http://schemas.microsoft.com/office/drawing/2014/main" id="{4F0651FC-CCAE-4CA5-A306-3D32FEDE0008}"/>
                </a:ext>
              </a:extLst>
            </p:cNvPr>
            <p:cNvSpPr txBox="1">
              <a:spLocks/>
            </p:cNvSpPr>
            <p:nvPr userDrawn="1"/>
          </p:nvSpPr>
          <p:spPr>
            <a:xfrm>
              <a:off x="2267220" y="2616963"/>
              <a:ext cx="3843347" cy="369332"/>
            </a:xfrm>
            <a:prstGeom prst="rect">
              <a:avLst/>
            </a:prstGeom>
            <a:grpFill/>
          </p:spPr>
          <p:txBody>
            <a:bodyPr wrap="square" rtlCol="0" anchor="ctr">
              <a:normAutofit/>
            </a:bodyPr>
            <a:lstStyle/>
            <a:p>
              <a:pPr marL="285750" indent="-285750" defTabSz="9334267">
                <a:buClr>
                  <a:schemeClr val="accent1"/>
                </a:buClr>
                <a:buFont typeface="Arial" panose="020B0604020202020204" pitchFamily="34" charset="0"/>
                <a:buChar char="+"/>
                <a:tabLst>
                  <a:tab pos="9512062" algn="l"/>
                </a:tabLst>
              </a:pPr>
              <a:r>
                <a:rPr lang="en-US" sz="1800" b="1"/>
                <a:t>&lt;TEXT&gt;</a:t>
              </a:r>
            </a:p>
          </p:txBody>
        </p:sp>
        <p:sp>
          <p:nvSpPr>
            <p:cNvPr id="140" name="Textbox" hidden="1">
              <a:extLst>
                <a:ext uri="{FF2B5EF4-FFF2-40B4-BE49-F238E27FC236}">
                  <a16:creationId xmlns:a16="http://schemas.microsoft.com/office/drawing/2014/main" id="{2BECDC34-551C-4469-8214-32EF54DCFADD}"/>
                </a:ext>
              </a:extLst>
            </p:cNvPr>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800" b="1"/>
                <a:t>&lt;N&gt;</a:t>
              </a:r>
            </a:p>
          </p:txBody>
        </p:sp>
        <p:sp>
          <p:nvSpPr>
            <p:cNvPr id="141" name="Textbox" hidden="1">
              <a:extLst>
                <a:ext uri="{FF2B5EF4-FFF2-40B4-BE49-F238E27FC236}">
                  <a16:creationId xmlns:a16="http://schemas.microsoft.com/office/drawing/2014/main" id="{5410C8DF-1809-4F92-9F49-4AC74B1A5484}"/>
                </a:ext>
              </a:extLst>
            </p:cNvPr>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800" b="1"/>
                <a:t>&lt;P&gt;</a:t>
              </a:r>
            </a:p>
          </p:txBody>
        </p:sp>
        <p:sp>
          <p:nvSpPr>
            <p:cNvPr id="142" name="Textbox" hidden="1">
              <a:extLst>
                <a:ext uri="{FF2B5EF4-FFF2-40B4-BE49-F238E27FC236}">
                  <a16:creationId xmlns:a16="http://schemas.microsoft.com/office/drawing/2014/main" id="{6431383D-2892-4E73-8488-8D1B40D006E5}"/>
                </a:ext>
              </a:extLst>
            </p:cNvPr>
            <p:cNvSpPr txBox="1">
              <a:spLocks/>
            </p:cNvSpPr>
            <p:nvPr userDrawn="1"/>
          </p:nvSpPr>
          <p:spPr>
            <a:xfrm>
              <a:off x="6976061" y="2616963"/>
              <a:ext cx="1257061" cy="369332"/>
            </a:xfrm>
            <a:prstGeom prst="rect">
              <a:avLst/>
            </a:prstGeom>
            <a:grpFill/>
          </p:spPr>
          <p:txBody>
            <a:bodyPr wrap="none" rtlCol="0" anchor="ctr">
              <a:noAutofit/>
            </a:bodyPr>
            <a:lstStyle/>
            <a:p>
              <a:pPr algn="l"/>
              <a:r>
                <a:rPr lang="en-US" sz="1800" b="1"/>
                <a:t>&lt;TIMESLOT&gt;</a:t>
              </a:r>
            </a:p>
          </p:txBody>
        </p:sp>
        <p:sp>
          <p:nvSpPr>
            <p:cNvPr id="143" name="Textbox" hidden="1">
              <a:extLst>
                <a:ext uri="{FF2B5EF4-FFF2-40B4-BE49-F238E27FC236}">
                  <a16:creationId xmlns:a16="http://schemas.microsoft.com/office/drawing/2014/main" id="{B69DE84F-D505-4E24-9398-1FC53DCE647D}"/>
                </a:ext>
              </a:extLst>
            </p:cNvPr>
            <p:cNvSpPr txBox="1">
              <a:spLocks/>
            </p:cNvSpPr>
            <p:nvPr userDrawn="1"/>
          </p:nvSpPr>
          <p:spPr>
            <a:xfrm>
              <a:off x="5072510" y="2616963"/>
              <a:ext cx="1388067" cy="369332"/>
            </a:xfrm>
            <a:prstGeom prst="rect">
              <a:avLst/>
            </a:prstGeom>
            <a:grpFill/>
          </p:spPr>
          <p:txBody>
            <a:bodyPr wrap="none" rtlCol="0" anchor="ctr">
              <a:noAutofit/>
            </a:bodyPr>
            <a:lstStyle/>
            <a:p>
              <a:pPr algn="l"/>
              <a:r>
                <a:rPr lang="en-US" sz="1800" b="1"/>
                <a:t>&lt;RESPONSIBLE&gt;</a:t>
              </a:r>
            </a:p>
          </p:txBody>
        </p:sp>
        <p:sp>
          <p:nvSpPr>
            <p:cNvPr id="144" name="Textbox" hidden="1">
              <a:extLst>
                <a:ext uri="{FF2B5EF4-FFF2-40B4-BE49-F238E27FC236}">
                  <a16:creationId xmlns:a16="http://schemas.microsoft.com/office/drawing/2014/main" id="{D44178F6-90C8-4BE0-89E1-80FF5554FC4B}"/>
                </a:ext>
              </a:extLst>
            </p:cNvPr>
            <p:cNvSpPr txBox="1">
              <a:spLocks/>
            </p:cNvSpPr>
            <p:nvPr userDrawn="1"/>
          </p:nvSpPr>
          <p:spPr>
            <a:xfrm>
              <a:off x="8468205" y="2616963"/>
              <a:ext cx="684723" cy="369332"/>
            </a:xfrm>
            <a:prstGeom prst="rect">
              <a:avLst/>
            </a:prstGeom>
            <a:grpFill/>
          </p:spPr>
          <p:txBody>
            <a:bodyPr wrap="none" rtlCol="0" anchor="ctr">
              <a:noAutofit/>
            </a:bodyPr>
            <a:lstStyle/>
            <a:p>
              <a:pPr algn="l"/>
              <a:r>
                <a:rPr lang="en-US" sz="1800" b="1"/>
                <a:t>&lt;DURATION&gt;</a:t>
              </a:r>
            </a:p>
          </p:txBody>
        </p:sp>
      </p:grpSp>
      <p:grpSp>
        <p:nvGrpSpPr>
          <p:cNvPr id="145" name="SP Agenda Subsection" hidden="1">
            <a:extLst>
              <a:ext uri="{FF2B5EF4-FFF2-40B4-BE49-F238E27FC236}">
                <a16:creationId xmlns:a16="http://schemas.microsoft.com/office/drawing/2014/main" id="{8C75163C-59E1-444D-9DEA-A211F316EF35}"/>
              </a:ext>
            </a:extLst>
          </p:cNvPr>
          <p:cNvGrpSpPr>
            <a:grpSpLocks/>
          </p:cNvGrpSpPr>
          <p:nvPr userDrawn="1"/>
        </p:nvGrpSpPr>
        <p:grpSpPr>
          <a:xfrm>
            <a:off x="2437849" y="2427296"/>
            <a:ext cx="9163984" cy="369332"/>
            <a:chOff x="2265804" y="3155687"/>
            <a:chExt cx="8189134" cy="369332"/>
          </a:xfrm>
        </p:grpSpPr>
        <p:sp>
          <p:nvSpPr>
            <p:cNvPr id="146" name="Textbox" hidden="1">
              <a:extLst>
                <a:ext uri="{FF2B5EF4-FFF2-40B4-BE49-F238E27FC236}">
                  <a16:creationId xmlns:a16="http://schemas.microsoft.com/office/drawing/2014/main" id="{5435EDBE-4B46-479E-A3EE-8BE2AEAA56A9}"/>
                </a:ext>
              </a:extLst>
            </p:cNvPr>
            <p:cNvSpPr txBox="1">
              <a:spLocks/>
            </p:cNvSpPr>
            <p:nvPr userDrawn="1"/>
          </p:nvSpPr>
          <p:spPr>
            <a:xfrm>
              <a:off x="2744123" y="3155687"/>
              <a:ext cx="3366444" cy="369332"/>
            </a:xfrm>
            <a:prstGeom prst="rect">
              <a:avLst/>
            </a:prstGeom>
            <a:no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a:t>&lt;TEXT&gt;</a:t>
              </a:r>
            </a:p>
          </p:txBody>
        </p:sp>
        <p:sp>
          <p:nvSpPr>
            <p:cNvPr id="147" name="Textbox" hidden="1">
              <a:extLst>
                <a:ext uri="{FF2B5EF4-FFF2-40B4-BE49-F238E27FC236}">
                  <a16:creationId xmlns:a16="http://schemas.microsoft.com/office/drawing/2014/main" id="{250997A5-3479-4B8B-95FE-94C2315C044F}"/>
                </a:ext>
              </a:extLst>
            </p:cNvPr>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600"/>
                <a:t>&lt;N&gt;</a:t>
              </a:r>
            </a:p>
          </p:txBody>
        </p:sp>
        <p:sp>
          <p:nvSpPr>
            <p:cNvPr id="148" name="Textbox" hidden="1">
              <a:extLst>
                <a:ext uri="{FF2B5EF4-FFF2-40B4-BE49-F238E27FC236}">
                  <a16:creationId xmlns:a16="http://schemas.microsoft.com/office/drawing/2014/main" id="{107FC083-CF43-4321-BD28-41171A6B15B4}"/>
                </a:ext>
              </a:extLst>
            </p:cNvPr>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600"/>
                <a:t>&lt;P&gt;</a:t>
              </a:r>
            </a:p>
          </p:txBody>
        </p:sp>
        <p:sp>
          <p:nvSpPr>
            <p:cNvPr id="149" name="Textbox" hidden="1">
              <a:extLst>
                <a:ext uri="{FF2B5EF4-FFF2-40B4-BE49-F238E27FC236}">
                  <a16:creationId xmlns:a16="http://schemas.microsoft.com/office/drawing/2014/main" id="{231F4168-70DA-47DC-B87F-8463217646EA}"/>
                </a:ext>
              </a:extLst>
            </p:cNvPr>
            <p:cNvSpPr txBox="1">
              <a:spLocks/>
            </p:cNvSpPr>
            <p:nvPr userDrawn="1"/>
          </p:nvSpPr>
          <p:spPr>
            <a:xfrm>
              <a:off x="7026505" y="3155687"/>
              <a:ext cx="1257061" cy="369332"/>
            </a:xfrm>
            <a:prstGeom prst="rect">
              <a:avLst/>
            </a:prstGeom>
            <a:noFill/>
          </p:spPr>
          <p:txBody>
            <a:bodyPr wrap="none" rtlCol="0" anchor="ctr">
              <a:noAutofit/>
            </a:bodyPr>
            <a:lstStyle/>
            <a:p>
              <a:pPr algn="l"/>
              <a:r>
                <a:rPr lang="en-US" sz="1600"/>
                <a:t>&lt;TIMESLOT&gt;</a:t>
              </a:r>
            </a:p>
          </p:txBody>
        </p:sp>
        <p:sp>
          <p:nvSpPr>
            <p:cNvPr id="150" name="Textbox" hidden="1">
              <a:extLst>
                <a:ext uri="{FF2B5EF4-FFF2-40B4-BE49-F238E27FC236}">
                  <a16:creationId xmlns:a16="http://schemas.microsoft.com/office/drawing/2014/main" id="{17FB603F-741C-48A6-8DEA-F7491E96E984}"/>
                </a:ext>
              </a:extLst>
            </p:cNvPr>
            <p:cNvSpPr txBox="1">
              <a:spLocks/>
            </p:cNvSpPr>
            <p:nvPr userDrawn="1"/>
          </p:nvSpPr>
          <p:spPr>
            <a:xfrm>
              <a:off x="5124151" y="3155687"/>
              <a:ext cx="1388067" cy="369332"/>
            </a:xfrm>
            <a:prstGeom prst="rect">
              <a:avLst/>
            </a:prstGeom>
            <a:noFill/>
          </p:spPr>
          <p:txBody>
            <a:bodyPr wrap="none" rtlCol="0" anchor="ctr">
              <a:noAutofit/>
            </a:bodyPr>
            <a:lstStyle/>
            <a:p>
              <a:pPr algn="l"/>
              <a:r>
                <a:rPr lang="en-US" sz="1600"/>
                <a:t>&lt;RESPONSIBLE&gt;</a:t>
              </a:r>
            </a:p>
          </p:txBody>
        </p:sp>
        <p:sp>
          <p:nvSpPr>
            <p:cNvPr id="151" name="Textbox" hidden="1">
              <a:extLst>
                <a:ext uri="{FF2B5EF4-FFF2-40B4-BE49-F238E27FC236}">
                  <a16:creationId xmlns:a16="http://schemas.microsoft.com/office/drawing/2014/main" id="{F731F62F-12E6-4CED-B13E-9E9F2551B2B0}"/>
                </a:ext>
              </a:extLst>
            </p:cNvPr>
            <p:cNvSpPr txBox="1">
              <a:spLocks/>
            </p:cNvSpPr>
            <p:nvPr userDrawn="1"/>
          </p:nvSpPr>
          <p:spPr>
            <a:xfrm>
              <a:off x="8508554" y="3155687"/>
              <a:ext cx="684723" cy="369332"/>
            </a:xfrm>
            <a:prstGeom prst="rect">
              <a:avLst/>
            </a:prstGeom>
            <a:noFill/>
          </p:spPr>
          <p:txBody>
            <a:bodyPr wrap="none" rtlCol="0" anchor="ctr">
              <a:noAutofit/>
            </a:bodyPr>
            <a:lstStyle/>
            <a:p>
              <a:pPr algn="l"/>
              <a:r>
                <a:rPr lang="en-US" sz="1600"/>
                <a:t>&lt;DURATION&gt;</a:t>
              </a:r>
            </a:p>
          </p:txBody>
        </p:sp>
      </p:grpSp>
      <p:grpSp>
        <p:nvGrpSpPr>
          <p:cNvPr id="152" name="SP Agenda Subsection Highlight" hidden="1">
            <a:extLst>
              <a:ext uri="{FF2B5EF4-FFF2-40B4-BE49-F238E27FC236}">
                <a16:creationId xmlns:a16="http://schemas.microsoft.com/office/drawing/2014/main" id="{D7F81F7A-5B11-43C7-967D-8D403A43E417}"/>
              </a:ext>
            </a:extLst>
          </p:cNvPr>
          <p:cNvGrpSpPr>
            <a:grpSpLocks/>
          </p:cNvGrpSpPr>
          <p:nvPr userDrawn="1"/>
        </p:nvGrpSpPr>
        <p:grpSpPr>
          <a:xfrm>
            <a:off x="2437847" y="2783817"/>
            <a:ext cx="9163983" cy="369332"/>
            <a:chOff x="2265804" y="3694411"/>
            <a:chExt cx="8189134" cy="369332"/>
          </a:xfrm>
          <a:noFill/>
        </p:grpSpPr>
        <p:sp>
          <p:nvSpPr>
            <p:cNvPr id="153" name="Textbox" hidden="1">
              <a:extLst>
                <a:ext uri="{FF2B5EF4-FFF2-40B4-BE49-F238E27FC236}">
                  <a16:creationId xmlns:a16="http://schemas.microsoft.com/office/drawing/2014/main" id="{BF297698-0EFA-4C5B-B190-460E5A56A5DF}"/>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marL="285750" indent="-285750" defTabSz="9334267">
                <a:buClrTx/>
                <a:buFont typeface="Arial" panose="020B0604020202020204" pitchFamily="34" charset="0"/>
                <a:buChar char="•"/>
                <a:tabLst>
                  <a:tab pos="9512062" algn="l"/>
                </a:tabLst>
              </a:pPr>
              <a:r>
                <a:rPr lang="en-US" sz="1600" b="1"/>
                <a:t>&lt;TEXT&gt;</a:t>
              </a:r>
            </a:p>
          </p:txBody>
        </p:sp>
        <p:sp>
          <p:nvSpPr>
            <p:cNvPr id="154" name="Textbox" hidden="1">
              <a:extLst>
                <a:ext uri="{FF2B5EF4-FFF2-40B4-BE49-F238E27FC236}">
                  <a16:creationId xmlns:a16="http://schemas.microsoft.com/office/drawing/2014/main" id="{7E145D72-54FC-4BAA-8426-B9D43E99C8E6}"/>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600" b="1"/>
                <a:t>&lt;N&gt;</a:t>
              </a:r>
            </a:p>
          </p:txBody>
        </p:sp>
        <p:sp>
          <p:nvSpPr>
            <p:cNvPr id="155" name="Textbox" hidden="1">
              <a:extLst>
                <a:ext uri="{FF2B5EF4-FFF2-40B4-BE49-F238E27FC236}">
                  <a16:creationId xmlns:a16="http://schemas.microsoft.com/office/drawing/2014/main" id="{905200E7-7D6E-4141-93B5-341DFE3E1A24}"/>
                </a:ext>
              </a:extLst>
            </p:cNvPr>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600" b="1"/>
                <a:t>&lt;P&gt;</a:t>
              </a:r>
            </a:p>
          </p:txBody>
        </p:sp>
        <p:sp>
          <p:nvSpPr>
            <p:cNvPr id="156" name="Textbox" hidden="1">
              <a:extLst>
                <a:ext uri="{FF2B5EF4-FFF2-40B4-BE49-F238E27FC236}">
                  <a16:creationId xmlns:a16="http://schemas.microsoft.com/office/drawing/2014/main" id="{88E53779-D335-4E6B-B08E-61D09E0B4163}"/>
                </a:ext>
              </a:extLst>
            </p:cNvPr>
            <p:cNvSpPr txBox="1">
              <a:spLocks/>
            </p:cNvSpPr>
            <p:nvPr userDrawn="1"/>
          </p:nvSpPr>
          <p:spPr>
            <a:xfrm>
              <a:off x="7026504" y="3694411"/>
              <a:ext cx="1257061" cy="369332"/>
            </a:xfrm>
            <a:prstGeom prst="rect">
              <a:avLst/>
            </a:prstGeom>
            <a:grpFill/>
          </p:spPr>
          <p:txBody>
            <a:bodyPr wrap="none" rtlCol="0" anchor="ctr">
              <a:noAutofit/>
            </a:bodyPr>
            <a:lstStyle/>
            <a:p>
              <a:pPr algn="l"/>
              <a:r>
                <a:rPr lang="en-US" sz="1600" b="1"/>
                <a:t>&lt;TIMESLOT&gt;</a:t>
              </a:r>
            </a:p>
          </p:txBody>
        </p:sp>
        <p:sp>
          <p:nvSpPr>
            <p:cNvPr id="157" name="Textbox" hidden="1">
              <a:extLst>
                <a:ext uri="{FF2B5EF4-FFF2-40B4-BE49-F238E27FC236}">
                  <a16:creationId xmlns:a16="http://schemas.microsoft.com/office/drawing/2014/main" id="{5658D305-2858-403B-AE34-055F6D3B3D0C}"/>
                </a:ext>
              </a:extLst>
            </p:cNvPr>
            <p:cNvSpPr txBox="1">
              <a:spLocks/>
            </p:cNvSpPr>
            <p:nvPr userDrawn="1"/>
          </p:nvSpPr>
          <p:spPr>
            <a:xfrm>
              <a:off x="5134235" y="3694411"/>
              <a:ext cx="1388067" cy="369332"/>
            </a:xfrm>
            <a:prstGeom prst="rect">
              <a:avLst/>
            </a:prstGeom>
            <a:grpFill/>
          </p:spPr>
          <p:txBody>
            <a:bodyPr wrap="none" rtlCol="0" anchor="ctr">
              <a:noAutofit/>
            </a:bodyPr>
            <a:lstStyle/>
            <a:p>
              <a:pPr algn="l"/>
              <a:r>
                <a:rPr lang="en-US" sz="1600" b="1"/>
                <a:t>&lt;RESPONSIBLE&gt;</a:t>
              </a:r>
            </a:p>
          </p:txBody>
        </p:sp>
        <p:sp>
          <p:nvSpPr>
            <p:cNvPr id="158" name="Textbox" hidden="1">
              <a:extLst>
                <a:ext uri="{FF2B5EF4-FFF2-40B4-BE49-F238E27FC236}">
                  <a16:creationId xmlns:a16="http://schemas.microsoft.com/office/drawing/2014/main" id="{BB8F9753-FA9F-470A-922A-19B7C7E8EDFF}"/>
                </a:ext>
              </a:extLst>
            </p:cNvPr>
            <p:cNvSpPr txBox="1">
              <a:spLocks/>
            </p:cNvSpPr>
            <p:nvPr userDrawn="1"/>
          </p:nvSpPr>
          <p:spPr>
            <a:xfrm>
              <a:off x="8508551" y="3694411"/>
              <a:ext cx="684723" cy="369332"/>
            </a:xfrm>
            <a:prstGeom prst="rect">
              <a:avLst/>
            </a:prstGeom>
            <a:grpFill/>
          </p:spPr>
          <p:txBody>
            <a:bodyPr wrap="none" rtlCol="0" anchor="ctr">
              <a:noAutofit/>
            </a:bodyPr>
            <a:lstStyle/>
            <a:p>
              <a:pPr algn="l"/>
              <a:r>
                <a:rPr lang="en-US" sz="1600" b="1"/>
                <a:t>&lt;DURATION&gt;</a:t>
              </a:r>
            </a:p>
          </p:txBody>
        </p:sp>
      </p:grpSp>
    </p:spTree>
    <p:extLst>
      <p:ext uri="{BB962C8B-B14F-4D97-AF65-F5344CB8AC3E}">
        <p14:creationId xmlns:p14="http://schemas.microsoft.com/office/powerpoint/2010/main" val="204349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BAD4242-30D3-4D6F-83E1-9D8590EAE0FF}" type="datetimeFigureOut">
              <a:rPr lang="en-GB" smtClean="0"/>
              <a:t>01/07/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CB48342-46A4-4BC2-8C82-35815ADE7BD8}" type="slidenum">
              <a:rPr lang="en-GB" smtClean="0"/>
              <a:t>‹#›</a:t>
            </a:fld>
            <a:endParaRPr lang="en-GB"/>
          </a:p>
        </p:txBody>
      </p:sp>
    </p:spTree>
    <p:extLst>
      <p:ext uri="{BB962C8B-B14F-4D97-AF65-F5344CB8AC3E}">
        <p14:creationId xmlns:p14="http://schemas.microsoft.com/office/powerpoint/2010/main" val="4261172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image" Target="../media/image1.emf"/><Relationship Id="rId21" Type="http://schemas.openxmlformats.org/officeDocument/2006/relationships/slideLayout" Target="../slideLayouts/slideLayout39.xml"/><Relationship Id="rId34" Type="http://schemas.openxmlformats.org/officeDocument/2006/relationships/slideLayout" Target="../slideLayouts/slideLayout5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tags" Target="../tags/tag1.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theme" Target="../theme/theme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8" Type="http://schemas.openxmlformats.org/officeDocument/2006/relationships/slideLayout" Target="../slideLayouts/slideLayout26.xml"/><Relationship Id="rId3"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image" Target="../media/image33.emf"/><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oleObject" Target="../embeddings/oleObject35.bin"/><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tags" Target="../tags/tag3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8" Type="http://schemas.openxmlformats.org/officeDocument/2006/relationships/slideLayout" Target="../slideLayouts/slideLayout61.xml"/><Relationship Id="rId3"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a:p>
          </p:txBody>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BAD4242-30D3-4D6F-83E1-9D8590EAE0FF}" type="datetimeFigureOut">
              <a:rPr lang="en-GB" smtClean="0"/>
              <a:t>01/07/2026</a:t>
            </a:fld>
            <a:endParaRPr lang="en-GB"/>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1CB48342-46A4-4BC2-8C82-35815ADE7BD8}" type="slidenum">
              <a:rPr lang="en-GB" smtClean="0"/>
              <a:t>‹#›</a:t>
            </a:fld>
            <a:endParaRPr lang="en-GB"/>
          </a:p>
        </p:txBody>
      </p:sp>
    </p:spTree>
    <p:extLst>
      <p:ext uri="{BB962C8B-B14F-4D97-AF65-F5344CB8AC3E}">
        <p14:creationId xmlns:p14="http://schemas.microsoft.com/office/powerpoint/2010/main" val="13093628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586247"/>
      </p:ext>
    </p:extLst>
  </p:cSld>
  <p:clrMap bg1="lt1" tx1="dk1" bg2="lt2" tx2="dk2" accent1="accent1" accent2="accent2" accent3="accent3" accent4="accent4" accent5="accent5" accent6="accent6" hlink="hlink" folHlink="folHlink"/>
  <p:sldLayoutIdLst>
    <p:sldLayoutId id="2147483680"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Tree>
    <p:extLst>
      <p:ext uri="{BB962C8B-B14F-4D97-AF65-F5344CB8AC3E}">
        <p14:creationId xmlns:p14="http://schemas.microsoft.com/office/powerpoint/2010/main" val="329006046"/>
      </p:ext>
    </p:extLst>
  </p:cSld>
  <p:clrMap bg1="lt1" tx1="dk1" bg2="dk2" tx2="lt2" accent1="accent1" accent2="accent2" accent3="accent3" accent4="accent4" accent5="accent5" accent6="accent6" hlink="hlink" folHlink="folHlink"/>
  <p:sldLayoutIdLst>
    <p:sldLayoutId id="2147483682"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D5707B5-4B1B-A573-DE59-103C6B9B3857}"/>
              </a:ext>
            </a:extLst>
          </p:cNvPr>
          <p:cNvGraphicFramePr>
            <a:graphicFrameLocks/>
          </p:cNvGraphicFramePr>
          <p:nvPr userDrawn="1">
            <p:custDataLst>
              <p:tags r:id="rId37"/>
            </p:custDataLst>
            <p:extLst>
              <p:ext uri="{D42A27DB-BD31-4B8C-83A1-F6EECF244321}">
                <p14:modId xmlns:p14="http://schemas.microsoft.com/office/powerpoint/2010/main" val="262161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12" name="think-cell data - do not delete" hidden="1">
                        <a:extLst>
                          <a:ext uri="{FF2B5EF4-FFF2-40B4-BE49-F238E27FC236}">
                            <a16:creationId xmlns:a16="http://schemas.microsoft.com/office/drawing/2014/main" id="{0D5707B5-4B1B-A573-DE59-103C6B9B3857}"/>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Noto Sans"/>
              <a:ea typeface="+mn-ea"/>
              <a:cs typeface="+mn-cs"/>
            </a:endParaRPr>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50000"/>
                  </a:srgbClr>
                </a:solidFill>
                <a:effectLst/>
                <a:uLnTx/>
                <a:uFillTx/>
                <a:latin typeface="Noto Sans"/>
                <a:ea typeface="+mn-ea"/>
                <a:cs typeface="+mn-cs"/>
              </a:rPr>
              <a:t>IQVIA Template (V4.0.0)</a:t>
            </a:r>
            <a:endParaRPr kumimoji="0" lang="en-US" sz="1000" b="0" i="0" u="none" strike="noStrike" kern="1200" cap="none" spc="0" normalizeH="0" baseline="0" noProof="0">
              <a:ln>
                <a:noFill/>
              </a:ln>
              <a:solidFill>
                <a:srgbClr val="FFFFFF">
                  <a:lumMod val="50000"/>
                </a:srgbClr>
              </a:solidFill>
              <a:effectLst/>
              <a:uLnTx/>
              <a:uFillTx/>
              <a:latin typeface="Noto Sans"/>
              <a:ea typeface="Arial" charset="0"/>
              <a:cs typeface="Arial" charset="0"/>
            </a:endParaRPr>
          </a:p>
        </p:txBody>
      </p:sp>
      <p:grpSp>
        <p:nvGrpSpPr>
          <p:cNvPr id="142" name="Group 141">
            <a:extLst>
              <a:ext uri="{FF2B5EF4-FFF2-40B4-BE49-F238E27FC236}">
                <a16:creationId xmlns:a16="http://schemas.microsoft.com/office/drawing/2014/main" id="{29FB6BC3-1B53-2FE2-764B-A15DD9E2BD6B}"/>
              </a:ext>
            </a:extLst>
          </p:cNvPr>
          <p:cNvGrpSpPr/>
          <p:nvPr userDrawn="1"/>
        </p:nvGrpSpPr>
        <p:grpSpPr>
          <a:xfrm>
            <a:off x="12308083" y="0"/>
            <a:ext cx="851744" cy="3736190"/>
            <a:chOff x="12308083" y="0"/>
            <a:chExt cx="851744" cy="3736190"/>
          </a:xfrm>
        </p:grpSpPr>
        <p:grpSp>
          <p:nvGrpSpPr>
            <p:cNvPr id="11" name="Group 10">
              <a:extLst>
                <a:ext uri="{FF2B5EF4-FFF2-40B4-BE49-F238E27FC236}">
                  <a16:creationId xmlns:a16="http://schemas.microsoft.com/office/drawing/2014/main" id="{E8B1BCA1-589B-A8E6-DE21-36891188309A}"/>
                </a:ext>
              </a:extLst>
            </p:cNvPr>
            <p:cNvGrpSpPr/>
            <p:nvPr userDrawn="1"/>
          </p:nvGrpSpPr>
          <p:grpSpPr>
            <a:xfrm>
              <a:off x="12308083" y="2649326"/>
              <a:ext cx="851743" cy="187184"/>
              <a:chOff x="12308083" y="2627114"/>
              <a:chExt cx="851743" cy="187184"/>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12308083" y="2627114"/>
                <a:ext cx="187184" cy="187184"/>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12751123" y="2627114"/>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12972642" y="2627114"/>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12529603" y="2627114"/>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grpSp>
        <p:sp>
          <p:nvSpPr>
            <p:cNvPr id="156" name="TextBox 155">
              <a:extLst>
                <a:ext uri="{FF2B5EF4-FFF2-40B4-BE49-F238E27FC236}">
                  <a16:creationId xmlns:a16="http://schemas.microsoft.com/office/drawing/2014/main" id="{F396C095-9B66-F444-862E-DE666BC5DC9E}"/>
                </a:ext>
              </a:extLst>
            </p:cNvPr>
            <p:cNvSpPr txBox="1"/>
            <p:nvPr/>
          </p:nvSpPr>
          <p:spPr>
            <a:xfrm>
              <a:off x="12308083" y="0"/>
              <a:ext cx="851744" cy="18466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100%  50%   75%   25%</a:t>
              </a:r>
            </a:p>
          </p:txBody>
        </p:sp>
        <p:grpSp>
          <p:nvGrpSpPr>
            <p:cNvPr id="6" name="Group 5">
              <a:extLst>
                <a:ext uri="{FF2B5EF4-FFF2-40B4-BE49-F238E27FC236}">
                  <a16:creationId xmlns:a16="http://schemas.microsoft.com/office/drawing/2014/main" id="{6307F83F-C095-6957-9133-BF721D059EDD}"/>
                </a:ext>
              </a:extLst>
            </p:cNvPr>
            <p:cNvGrpSpPr/>
            <p:nvPr userDrawn="1"/>
          </p:nvGrpSpPr>
          <p:grpSpPr>
            <a:xfrm>
              <a:off x="12308083" y="419226"/>
              <a:ext cx="851743" cy="188638"/>
              <a:chOff x="12308083" y="418248"/>
              <a:chExt cx="851743" cy="188638"/>
            </a:xfrm>
          </p:grpSpPr>
          <p:sp>
            <p:nvSpPr>
              <p:cNvPr id="164" name="Rectangle 163">
                <a:extLst>
                  <a:ext uri="{FF2B5EF4-FFF2-40B4-BE49-F238E27FC236}">
                    <a16:creationId xmlns:a16="http://schemas.microsoft.com/office/drawing/2014/main" id="{51FF5A3B-DFB1-5F43-A2EF-04D81F0CA37E}"/>
                  </a:ext>
                </a:extLst>
              </p:cNvPr>
              <p:cNvSpPr/>
              <p:nvPr/>
            </p:nvSpPr>
            <p:spPr bwMode="gray">
              <a:xfrm>
                <a:off x="12529603" y="41824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12751122" y="41824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12972642" y="41824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12308083" y="41970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4" name="Group 3">
              <a:extLst>
                <a:ext uri="{FF2B5EF4-FFF2-40B4-BE49-F238E27FC236}">
                  <a16:creationId xmlns:a16="http://schemas.microsoft.com/office/drawing/2014/main" id="{54D31852-4FF2-4DC7-9F4F-12F33E8E006F}"/>
                </a:ext>
              </a:extLst>
            </p:cNvPr>
            <p:cNvGrpSpPr/>
            <p:nvPr userDrawn="1"/>
          </p:nvGrpSpPr>
          <p:grpSpPr>
            <a:xfrm>
              <a:off x="12308083" y="196943"/>
              <a:ext cx="851743" cy="187184"/>
              <a:chOff x="12308083" y="196943"/>
              <a:chExt cx="851743" cy="187184"/>
            </a:xfrm>
          </p:grpSpPr>
          <p:sp>
            <p:nvSpPr>
              <p:cNvPr id="163" name="Rectangle 162">
                <a:extLst>
                  <a:ext uri="{FF2B5EF4-FFF2-40B4-BE49-F238E27FC236}">
                    <a16:creationId xmlns:a16="http://schemas.microsoft.com/office/drawing/2014/main" id="{FABDCF59-39B4-D741-804B-DA8E5356DEE0}"/>
                  </a:ext>
                </a:extLst>
              </p:cNvPr>
              <p:cNvSpPr/>
              <p:nvPr/>
            </p:nvSpPr>
            <p:spPr bwMode="gray">
              <a:xfrm>
                <a:off x="12529603" y="19694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12751122" y="19694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12972642" y="19694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12308083" y="19694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7" name="Group 6">
              <a:extLst>
                <a:ext uri="{FF2B5EF4-FFF2-40B4-BE49-F238E27FC236}">
                  <a16:creationId xmlns:a16="http://schemas.microsoft.com/office/drawing/2014/main" id="{0AA79F80-D902-1962-861B-63DE988E9D1F}"/>
                </a:ext>
              </a:extLst>
            </p:cNvPr>
            <p:cNvGrpSpPr/>
            <p:nvPr userDrawn="1"/>
          </p:nvGrpSpPr>
          <p:grpSpPr>
            <a:xfrm>
              <a:off x="12308083" y="1087529"/>
              <a:ext cx="851743" cy="190092"/>
              <a:chOff x="12308083" y="1080414"/>
              <a:chExt cx="851743" cy="190092"/>
            </a:xfrm>
          </p:grpSpPr>
          <p:sp>
            <p:nvSpPr>
              <p:cNvPr id="178" name="Rectangle 177">
                <a:extLst>
                  <a:ext uri="{FF2B5EF4-FFF2-40B4-BE49-F238E27FC236}">
                    <a16:creationId xmlns:a16="http://schemas.microsoft.com/office/drawing/2014/main" id="{C91C1BDA-5D81-794C-B1A7-67CC9CE1EE1E}"/>
                  </a:ext>
                </a:extLst>
              </p:cNvPr>
              <p:cNvSpPr/>
              <p:nvPr/>
            </p:nvSpPr>
            <p:spPr bwMode="gray">
              <a:xfrm>
                <a:off x="12529603" y="1080414"/>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12751122" y="1080414"/>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12972642" y="1080414"/>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12308083" y="1083322"/>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10" name="Group 9">
              <a:extLst>
                <a:ext uri="{FF2B5EF4-FFF2-40B4-BE49-F238E27FC236}">
                  <a16:creationId xmlns:a16="http://schemas.microsoft.com/office/drawing/2014/main" id="{6E9EF6F7-8078-2AA2-2468-0446932D2A36}"/>
                </a:ext>
              </a:extLst>
            </p:cNvPr>
            <p:cNvGrpSpPr/>
            <p:nvPr userDrawn="1"/>
          </p:nvGrpSpPr>
          <p:grpSpPr>
            <a:xfrm>
              <a:off x="12308083" y="2204760"/>
              <a:ext cx="851743" cy="187184"/>
              <a:chOff x="12308083" y="2181904"/>
              <a:chExt cx="851743" cy="187184"/>
            </a:xfrm>
          </p:grpSpPr>
          <p:sp>
            <p:nvSpPr>
              <p:cNvPr id="184" name="Rectangle 183">
                <a:extLst>
                  <a:ext uri="{FF2B5EF4-FFF2-40B4-BE49-F238E27FC236}">
                    <a16:creationId xmlns:a16="http://schemas.microsoft.com/office/drawing/2014/main" id="{A9EA6558-DD3B-7A4C-91B0-97252C1832CF}"/>
                  </a:ext>
                </a:extLst>
              </p:cNvPr>
              <p:cNvSpPr/>
              <p:nvPr/>
            </p:nvSpPr>
            <p:spPr bwMode="gray">
              <a:xfrm>
                <a:off x="12308083" y="2181904"/>
                <a:ext cx="187184" cy="187184"/>
              </a:xfrm>
              <a:prstGeom prst="rect">
                <a:avLst/>
              </a:prstGeom>
              <a:solidFill>
                <a:srgbClr val="02722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12529603" y="2181904"/>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12751122" y="2181904"/>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12972642" y="2181904"/>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grpSp>
          <p:nvGrpSpPr>
            <p:cNvPr id="9" name="Group 8">
              <a:extLst>
                <a:ext uri="{FF2B5EF4-FFF2-40B4-BE49-F238E27FC236}">
                  <a16:creationId xmlns:a16="http://schemas.microsoft.com/office/drawing/2014/main" id="{6B5EA531-8644-120F-18B0-28D3A1DB590C}"/>
                </a:ext>
              </a:extLst>
            </p:cNvPr>
            <p:cNvGrpSpPr/>
            <p:nvPr userDrawn="1"/>
          </p:nvGrpSpPr>
          <p:grpSpPr>
            <a:xfrm>
              <a:off x="12308083" y="1982477"/>
              <a:ext cx="851743" cy="187184"/>
              <a:chOff x="12308083" y="1960536"/>
              <a:chExt cx="851743" cy="187184"/>
            </a:xfrm>
          </p:grpSpPr>
          <p:sp>
            <p:nvSpPr>
              <p:cNvPr id="169" name="Rectangle 168">
                <a:extLst>
                  <a:ext uri="{FF2B5EF4-FFF2-40B4-BE49-F238E27FC236}">
                    <a16:creationId xmlns:a16="http://schemas.microsoft.com/office/drawing/2014/main" id="{3C6FF5B6-5DBB-B04F-B902-B9A93A757215}"/>
                  </a:ext>
                </a:extLst>
              </p:cNvPr>
              <p:cNvSpPr/>
              <p:nvPr/>
            </p:nvSpPr>
            <p:spPr bwMode="gray">
              <a:xfrm>
                <a:off x="12308083" y="1960536"/>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12529603" y="1960536"/>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12751122" y="1960536"/>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12972642" y="1960536"/>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sp>
          <p:nvSpPr>
            <p:cNvPr id="191" name="Rectangle 190">
              <a:extLst>
                <a:ext uri="{FF2B5EF4-FFF2-40B4-BE49-F238E27FC236}">
                  <a16:creationId xmlns:a16="http://schemas.microsoft.com/office/drawing/2014/main" id="{68D56737-D7FA-9241-BF90-CDAA19D3F175}"/>
                </a:ext>
              </a:extLst>
            </p:cNvPr>
            <p:cNvSpPr/>
            <p:nvPr/>
          </p:nvSpPr>
          <p:spPr bwMode="gray">
            <a:xfrm>
              <a:off x="12308083" y="643208"/>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12528890" y="645726"/>
              <a:ext cx="63093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Bright Blue</a:t>
              </a: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12308083" y="865246"/>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95" name="TextBox 194">
              <a:extLst>
                <a:ext uri="{FF2B5EF4-FFF2-40B4-BE49-F238E27FC236}">
                  <a16:creationId xmlns:a16="http://schemas.microsoft.com/office/drawing/2014/main" id="{72B3BE3E-8803-DD42-B96E-2D6A35B5C8FE}"/>
                </a:ext>
              </a:extLst>
            </p:cNvPr>
            <p:cNvSpPr txBox="1"/>
            <p:nvPr/>
          </p:nvSpPr>
          <p:spPr>
            <a:xfrm>
              <a:off x="12529603" y="867764"/>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Indigo</a:t>
              </a:r>
            </a:p>
          </p:txBody>
        </p:sp>
        <p:grpSp>
          <p:nvGrpSpPr>
            <p:cNvPr id="8" name="Group 7">
              <a:extLst>
                <a:ext uri="{FF2B5EF4-FFF2-40B4-BE49-F238E27FC236}">
                  <a16:creationId xmlns:a16="http://schemas.microsoft.com/office/drawing/2014/main" id="{CCE559D8-A3FE-2ADF-C818-6A2239BA9C8D}"/>
                </a:ext>
              </a:extLst>
            </p:cNvPr>
            <p:cNvGrpSpPr/>
            <p:nvPr userDrawn="1"/>
          </p:nvGrpSpPr>
          <p:grpSpPr>
            <a:xfrm>
              <a:off x="12308083" y="1312720"/>
              <a:ext cx="851743" cy="190092"/>
              <a:chOff x="12308083" y="1309014"/>
              <a:chExt cx="851743" cy="190092"/>
            </a:xfrm>
          </p:grpSpPr>
          <p:sp>
            <p:nvSpPr>
              <p:cNvPr id="197" name="Rectangle 196">
                <a:extLst>
                  <a:ext uri="{FF2B5EF4-FFF2-40B4-BE49-F238E27FC236}">
                    <a16:creationId xmlns:a16="http://schemas.microsoft.com/office/drawing/2014/main" id="{D6E8F370-88B7-B143-BECC-56B2696E26F2}"/>
                  </a:ext>
                </a:extLst>
              </p:cNvPr>
              <p:cNvSpPr/>
              <p:nvPr/>
            </p:nvSpPr>
            <p:spPr bwMode="gray">
              <a:xfrm>
                <a:off x="12529603" y="1309014"/>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12751122" y="1309014"/>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12972642" y="1309014"/>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12308083" y="1311922"/>
                <a:ext cx="187184" cy="187184"/>
              </a:xfrm>
              <a:prstGeom prst="rect">
                <a:avLst/>
              </a:prstGeom>
              <a:solidFill>
                <a:srgbClr val="008F8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grpSp>
        <p:sp>
          <p:nvSpPr>
            <p:cNvPr id="201" name="Rectangle 200">
              <a:extLst>
                <a:ext uri="{FF2B5EF4-FFF2-40B4-BE49-F238E27FC236}">
                  <a16:creationId xmlns:a16="http://schemas.microsoft.com/office/drawing/2014/main" id="{7AB8F119-F5FE-2149-92FB-75F8830718E6}"/>
                </a:ext>
              </a:extLst>
            </p:cNvPr>
            <p:cNvSpPr/>
            <p:nvPr/>
          </p:nvSpPr>
          <p:spPr bwMode="gray">
            <a:xfrm>
              <a:off x="12308083" y="1537911"/>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12528890" y="1540429"/>
              <a:ext cx="63093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12308083" y="242704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to Sans"/>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12528890" y="2429561"/>
              <a:ext cx="630936"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Bright Green</a:t>
              </a:r>
            </a:p>
          </p:txBody>
        </p:sp>
        <p:sp>
          <p:nvSpPr>
            <p:cNvPr id="2" name="Rectangle 1">
              <a:extLst>
                <a:ext uri="{FF2B5EF4-FFF2-40B4-BE49-F238E27FC236}">
                  <a16:creationId xmlns:a16="http://schemas.microsoft.com/office/drawing/2014/main" id="{6E8E6B63-0E18-2B5F-AE36-0B95FD27C5A3}"/>
                </a:ext>
              </a:extLst>
            </p:cNvPr>
            <p:cNvSpPr/>
            <p:nvPr userDrawn="1"/>
          </p:nvSpPr>
          <p:spPr bwMode="gray">
            <a:xfrm>
              <a:off x="12308083" y="1760194"/>
              <a:ext cx="187184" cy="187184"/>
            </a:xfrm>
            <a:prstGeom prst="rect">
              <a:avLst/>
            </a:prstGeom>
            <a:solidFill>
              <a:srgbClr val="11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3" name="TextBox 2">
              <a:extLst>
                <a:ext uri="{FF2B5EF4-FFF2-40B4-BE49-F238E27FC236}">
                  <a16:creationId xmlns:a16="http://schemas.microsoft.com/office/drawing/2014/main" id="{27EB9D1A-6121-A3E4-E861-1158A6F8F31B}"/>
                </a:ext>
              </a:extLst>
            </p:cNvPr>
            <p:cNvSpPr txBox="1"/>
            <p:nvPr userDrawn="1"/>
          </p:nvSpPr>
          <p:spPr>
            <a:xfrm>
              <a:off x="12529603" y="1762712"/>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Emerald</a:t>
              </a:r>
            </a:p>
          </p:txBody>
        </p:sp>
        <p:grpSp>
          <p:nvGrpSpPr>
            <p:cNvPr id="140" name="Group 139">
              <a:extLst>
                <a:ext uri="{FF2B5EF4-FFF2-40B4-BE49-F238E27FC236}">
                  <a16:creationId xmlns:a16="http://schemas.microsoft.com/office/drawing/2014/main" id="{4FEE050B-86F4-9EDD-08D3-38751AEE6DF2}"/>
                </a:ext>
              </a:extLst>
            </p:cNvPr>
            <p:cNvGrpSpPr/>
            <p:nvPr userDrawn="1"/>
          </p:nvGrpSpPr>
          <p:grpSpPr>
            <a:xfrm>
              <a:off x="12308083" y="3097878"/>
              <a:ext cx="851744" cy="187184"/>
              <a:chOff x="12308083" y="3083609"/>
              <a:chExt cx="851744" cy="187184"/>
            </a:xfrm>
          </p:grpSpPr>
          <p:sp>
            <p:nvSpPr>
              <p:cNvPr id="18" name="Rectangle 17">
                <a:extLst>
                  <a:ext uri="{FF2B5EF4-FFF2-40B4-BE49-F238E27FC236}">
                    <a16:creationId xmlns:a16="http://schemas.microsoft.com/office/drawing/2014/main" id="{60D001CB-AF8A-510D-F4E9-A6191A4A78C5}"/>
                  </a:ext>
                </a:extLst>
              </p:cNvPr>
              <p:cNvSpPr/>
              <p:nvPr userDrawn="1"/>
            </p:nvSpPr>
            <p:spPr bwMode="gray">
              <a:xfrm>
                <a:off x="12308083" y="3083609"/>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9" name="Rectangle 18">
                <a:extLst>
                  <a:ext uri="{FF2B5EF4-FFF2-40B4-BE49-F238E27FC236}">
                    <a16:creationId xmlns:a16="http://schemas.microsoft.com/office/drawing/2014/main" id="{ED5362CE-1EF2-DC8F-37D5-6E294F2C5F7B}"/>
                  </a:ext>
                </a:extLst>
              </p:cNvPr>
              <p:cNvSpPr/>
              <p:nvPr userDrawn="1"/>
            </p:nvSpPr>
            <p:spPr bwMode="gray">
              <a:xfrm>
                <a:off x="12529603" y="3083609"/>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0" name="Rectangle 19">
                <a:extLst>
                  <a:ext uri="{FF2B5EF4-FFF2-40B4-BE49-F238E27FC236}">
                    <a16:creationId xmlns:a16="http://schemas.microsoft.com/office/drawing/2014/main" id="{9DE12495-5861-0BBD-F5F7-B7ED59C0424F}"/>
                  </a:ext>
                </a:extLst>
              </p:cNvPr>
              <p:cNvSpPr/>
              <p:nvPr userDrawn="1"/>
            </p:nvSpPr>
            <p:spPr bwMode="gray">
              <a:xfrm>
                <a:off x="12751123" y="3083609"/>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1" name="Rectangle 20">
                <a:extLst>
                  <a:ext uri="{FF2B5EF4-FFF2-40B4-BE49-F238E27FC236}">
                    <a16:creationId xmlns:a16="http://schemas.microsoft.com/office/drawing/2014/main" id="{5B3A3D63-78D8-0C24-20F2-047870D04711}"/>
                  </a:ext>
                </a:extLst>
              </p:cNvPr>
              <p:cNvSpPr/>
              <p:nvPr userDrawn="1"/>
            </p:nvSpPr>
            <p:spPr bwMode="gray">
              <a:xfrm>
                <a:off x="12972643" y="3083609"/>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grpSp>
        <p:grpSp>
          <p:nvGrpSpPr>
            <p:cNvPr id="139" name="Group 138">
              <a:extLst>
                <a:ext uri="{FF2B5EF4-FFF2-40B4-BE49-F238E27FC236}">
                  <a16:creationId xmlns:a16="http://schemas.microsoft.com/office/drawing/2014/main" id="{3528DAC4-D111-4C1B-5FDB-C04C7AC728C5}"/>
                </a:ext>
              </a:extLst>
            </p:cNvPr>
            <p:cNvGrpSpPr/>
            <p:nvPr userDrawn="1"/>
          </p:nvGrpSpPr>
          <p:grpSpPr>
            <a:xfrm>
              <a:off x="12308083" y="2872314"/>
              <a:ext cx="851744" cy="187184"/>
              <a:chOff x="12308083" y="2872314"/>
              <a:chExt cx="851744" cy="187184"/>
            </a:xfrm>
          </p:grpSpPr>
          <p:sp>
            <p:nvSpPr>
              <p:cNvPr id="24" name="Rectangle 23">
                <a:extLst>
                  <a:ext uri="{FF2B5EF4-FFF2-40B4-BE49-F238E27FC236}">
                    <a16:creationId xmlns:a16="http://schemas.microsoft.com/office/drawing/2014/main" id="{F0BE49B6-BFF2-0D68-3894-BBC0F185ED5A}"/>
                  </a:ext>
                </a:extLst>
              </p:cNvPr>
              <p:cNvSpPr/>
              <p:nvPr userDrawn="1"/>
            </p:nvSpPr>
            <p:spPr bwMode="gray">
              <a:xfrm>
                <a:off x="12308083" y="2872314"/>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5" name="Rectangle 24">
                <a:extLst>
                  <a:ext uri="{FF2B5EF4-FFF2-40B4-BE49-F238E27FC236}">
                    <a16:creationId xmlns:a16="http://schemas.microsoft.com/office/drawing/2014/main" id="{1BC1A38E-3746-C101-25BC-4DC2F2CC7D8B}"/>
                  </a:ext>
                </a:extLst>
              </p:cNvPr>
              <p:cNvSpPr/>
              <p:nvPr userDrawn="1"/>
            </p:nvSpPr>
            <p:spPr bwMode="gray">
              <a:xfrm>
                <a:off x="12529603" y="2872314"/>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6" name="Rectangle 25">
                <a:extLst>
                  <a:ext uri="{FF2B5EF4-FFF2-40B4-BE49-F238E27FC236}">
                    <a16:creationId xmlns:a16="http://schemas.microsoft.com/office/drawing/2014/main" id="{60FB8B51-204B-21C1-6B54-F2F524975BB5}"/>
                  </a:ext>
                </a:extLst>
              </p:cNvPr>
              <p:cNvSpPr/>
              <p:nvPr userDrawn="1"/>
            </p:nvSpPr>
            <p:spPr bwMode="gray">
              <a:xfrm>
                <a:off x="12751123" y="2872314"/>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27" name="Rectangle 26">
                <a:extLst>
                  <a:ext uri="{FF2B5EF4-FFF2-40B4-BE49-F238E27FC236}">
                    <a16:creationId xmlns:a16="http://schemas.microsoft.com/office/drawing/2014/main" id="{583A1F5D-8321-3B99-3AB1-9D7F6C5C3CE7}"/>
                  </a:ext>
                </a:extLst>
              </p:cNvPr>
              <p:cNvSpPr/>
              <p:nvPr userDrawn="1"/>
            </p:nvSpPr>
            <p:spPr bwMode="gray">
              <a:xfrm>
                <a:off x="12972643" y="2872314"/>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grpSp>
        <p:sp>
          <p:nvSpPr>
            <p:cNvPr id="134" name="Rectangle 133">
              <a:extLst>
                <a:ext uri="{FF2B5EF4-FFF2-40B4-BE49-F238E27FC236}">
                  <a16:creationId xmlns:a16="http://schemas.microsoft.com/office/drawing/2014/main" id="{CB808209-9C0A-DED4-F99D-563E57934075}"/>
                </a:ext>
              </a:extLst>
            </p:cNvPr>
            <p:cNvSpPr/>
            <p:nvPr userDrawn="1"/>
          </p:nvSpPr>
          <p:spPr bwMode="gray">
            <a:xfrm>
              <a:off x="12308083" y="3549006"/>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35" name="TextBox 134">
              <a:extLst>
                <a:ext uri="{FF2B5EF4-FFF2-40B4-BE49-F238E27FC236}">
                  <a16:creationId xmlns:a16="http://schemas.microsoft.com/office/drawing/2014/main" id="{428AFC82-17B1-F422-B038-FD32BCA7612D}"/>
                </a:ext>
              </a:extLst>
            </p:cNvPr>
            <p:cNvSpPr txBox="1"/>
            <p:nvPr userDrawn="1"/>
          </p:nvSpPr>
          <p:spPr>
            <a:xfrm>
              <a:off x="12529603" y="3550265"/>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5% Charcoal</a:t>
              </a:r>
            </a:p>
          </p:txBody>
        </p:sp>
        <p:sp>
          <p:nvSpPr>
            <p:cNvPr id="136" name="Rectangle 135">
              <a:extLst>
                <a:ext uri="{FF2B5EF4-FFF2-40B4-BE49-F238E27FC236}">
                  <a16:creationId xmlns:a16="http://schemas.microsoft.com/office/drawing/2014/main" id="{E58C9DF5-996C-1AE8-94E2-51D752085FF3}"/>
                </a:ext>
              </a:extLst>
            </p:cNvPr>
            <p:cNvSpPr/>
            <p:nvPr userDrawn="1"/>
          </p:nvSpPr>
          <p:spPr bwMode="gray">
            <a:xfrm>
              <a:off x="12308083" y="332344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Noto Sans"/>
                <a:ea typeface="+mn-ea"/>
                <a:cs typeface="+mn-cs"/>
              </a:endParaRPr>
            </a:p>
          </p:txBody>
        </p:sp>
        <p:sp>
          <p:nvSpPr>
            <p:cNvPr id="137" name="TextBox 136">
              <a:extLst>
                <a:ext uri="{FF2B5EF4-FFF2-40B4-BE49-F238E27FC236}">
                  <a16:creationId xmlns:a16="http://schemas.microsoft.com/office/drawing/2014/main" id="{F476FE1F-1A3D-9826-393D-2735CFF58996}"/>
                </a:ext>
              </a:extLst>
            </p:cNvPr>
            <p:cNvSpPr txBox="1"/>
            <p:nvPr userDrawn="1"/>
          </p:nvSpPr>
          <p:spPr>
            <a:xfrm>
              <a:off x="12529603" y="3324701"/>
              <a:ext cx="630223" cy="18466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B3A42"/>
                  </a:solidFill>
                  <a:effectLst/>
                  <a:uLnTx/>
                  <a:uFillTx/>
                  <a:latin typeface="Noto Sans"/>
                  <a:ea typeface="+mn-ea"/>
                  <a:cs typeface="+mn-cs"/>
                </a:rPr>
                <a:t>Red</a:t>
              </a:r>
            </a:p>
          </p:txBody>
        </p:sp>
      </p:grpSp>
    </p:spTree>
    <p:extLst>
      <p:ext uri="{BB962C8B-B14F-4D97-AF65-F5344CB8AC3E}">
        <p14:creationId xmlns:p14="http://schemas.microsoft.com/office/powerpoint/2010/main" val="3860321131"/>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44" r:id="rId21"/>
    <p:sldLayoutId id="2147484145" r:id="rId22"/>
    <p:sldLayoutId id="2147484146" r:id="rId23"/>
    <p:sldLayoutId id="2147484147" r:id="rId24"/>
    <p:sldLayoutId id="2147484148" r:id="rId25"/>
    <p:sldLayoutId id="2147484149" r:id="rId26"/>
    <p:sldLayoutId id="2147484150" r:id="rId27"/>
    <p:sldLayoutId id="2147484151" r:id="rId28"/>
    <p:sldLayoutId id="2147484152" r:id="rId29"/>
    <p:sldLayoutId id="2147484153" r:id="rId30"/>
    <p:sldLayoutId id="2147484154" r:id="rId31"/>
    <p:sldLayoutId id="2147484155" r:id="rId32"/>
    <p:sldLayoutId id="2147484156" r:id="rId33"/>
    <p:sldLayoutId id="2147484157" r:id="rId34"/>
    <p:sldLayoutId id="2147484158"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0817964-17AC-B6E0-C22F-2EDFECEED46D}"/>
              </a:ext>
            </a:extLst>
          </p:cNvPr>
          <p:cNvGraphicFramePr>
            <a:graphicFrameLocks noChangeAspect="1"/>
          </p:cNvGraphicFramePr>
          <p:nvPr userDrawn="1">
            <p:custDataLst>
              <p:tags r:id="rId37"/>
            </p:custDataLst>
            <p:extLst>
              <p:ext uri="{D42A27DB-BD31-4B8C-83A1-F6EECF244321}">
                <p14:modId xmlns:p14="http://schemas.microsoft.com/office/powerpoint/2010/main" val="650131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0" imgH="411" progId="TCLayout.ActiveDocument.1">
                  <p:embed/>
                </p:oleObj>
              </mc:Choice>
              <mc:Fallback>
                <p:oleObj name="think-cell Slide" r:id="rId38" imgW="410" imgH="411" progId="TCLayout.ActiveDocument.1">
                  <p:embed/>
                  <p:pic>
                    <p:nvPicPr>
                      <p:cNvPr id="2" name="think-cell data - do not delete" hidden="1">
                        <a:extLst>
                          <a:ext uri="{FF2B5EF4-FFF2-40B4-BE49-F238E27FC236}">
                            <a16:creationId xmlns:a16="http://schemas.microsoft.com/office/drawing/2014/main" id="{30817964-17AC-B6E0-C22F-2EDFECEED46D}"/>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3534326137"/>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 id="2147484353" r:id="rId24"/>
    <p:sldLayoutId id="2147484354" r:id="rId25"/>
    <p:sldLayoutId id="2147484355" r:id="rId26"/>
    <p:sldLayoutId id="2147484356" r:id="rId27"/>
    <p:sldLayoutId id="2147484357" r:id="rId28"/>
    <p:sldLayoutId id="2147484358" r:id="rId29"/>
    <p:sldLayoutId id="2147484359" r:id="rId30"/>
    <p:sldLayoutId id="2147484360" r:id="rId31"/>
    <p:sldLayoutId id="2147484361" r:id="rId32"/>
    <p:sldLayoutId id="2147484362" r:id="rId33"/>
    <p:sldLayoutId id="2147484363" r:id="rId34"/>
    <p:sldLayoutId id="214748436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hyperlink" Target="https://virty.health/" TargetMode="External"/><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65.png"/><Relationship Id="rId4" Type="http://schemas.openxmlformats.org/officeDocument/2006/relationships/image" Target="../media/image64.png"/></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9.png"/><Relationship Id="rId5" Type="http://schemas.openxmlformats.org/officeDocument/2006/relationships/image" Target="../media/image57.pn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61.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3.png"/><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5B96ED2-53B1-4ED7-B985-E27270D1BC56">
            <a:extLst>
              <a:ext uri="{FF2B5EF4-FFF2-40B4-BE49-F238E27FC236}">
                <a16:creationId xmlns:a16="http://schemas.microsoft.com/office/drawing/2014/main" id="{13233933-962E-EAA0-CA59-C9AFDC6320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32052" y="5953915"/>
            <a:ext cx="2002277" cy="744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2">
            <a:extLst>
              <a:ext uri="{FF2B5EF4-FFF2-40B4-BE49-F238E27FC236}">
                <a16:creationId xmlns:a16="http://schemas.microsoft.com/office/drawing/2014/main" id="{A059EBC5-F9DB-8FFB-B8EF-CAEDA22553CE}"/>
              </a:ext>
            </a:extLst>
          </p:cNvPr>
          <p:cNvSpPr>
            <a:spLocks noGrp="1"/>
          </p:cNvSpPr>
          <p:nvPr>
            <p:ph type="title"/>
          </p:nvPr>
        </p:nvSpPr>
        <p:spPr>
          <a:xfrm>
            <a:off x="875742" y="285471"/>
            <a:ext cx="8596668" cy="965359"/>
          </a:xfrm>
        </p:spPr>
        <p:txBody>
          <a:bodyPr/>
          <a:lstStyle/>
          <a:p>
            <a:r>
              <a:rPr lang="en-GB" b="1" dirty="0">
                <a:latin typeface="Arial" panose="020B0604020202020204" pitchFamily="34" charset="0"/>
                <a:cs typeface="Arial" panose="020B0604020202020204" pitchFamily="34" charset="0"/>
              </a:rPr>
              <a:t>ONE TEAM IN ACTION</a:t>
            </a:r>
          </a:p>
        </p:txBody>
      </p:sp>
      <p:sp>
        <p:nvSpPr>
          <p:cNvPr id="2" name="Text Placeholder 1">
            <a:extLst>
              <a:ext uri="{FF2B5EF4-FFF2-40B4-BE49-F238E27FC236}">
                <a16:creationId xmlns:a16="http://schemas.microsoft.com/office/drawing/2014/main" id="{B37FFEA6-0547-CB72-1E05-CF7E7BF95B49}"/>
              </a:ext>
            </a:extLst>
          </p:cNvPr>
          <p:cNvSpPr>
            <a:spLocks noGrp="1"/>
          </p:cNvSpPr>
          <p:nvPr>
            <p:ph type="body" idx="1"/>
          </p:nvPr>
        </p:nvSpPr>
        <p:spPr>
          <a:xfrm>
            <a:off x="875742" y="2810791"/>
            <a:ext cx="8596668" cy="860400"/>
          </a:xfrm>
        </p:spPr>
        <p:txBody>
          <a:bodyPr>
            <a:normAutofit/>
          </a:bodyPr>
          <a:lstStyle/>
          <a:p>
            <a:pPr algn="ctr"/>
            <a:r>
              <a:rPr lang="en-GB" sz="2400" b="1" dirty="0">
                <a:latin typeface="Arial" panose="020B0604020202020204" pitchFamily="34" charset="0"/>
                <a:cs typeface="Arial" panose="020B0604020202020204" pitchFamily="34" charset="0"/>
              </a:rPr>
              <a:t>Sunday June 28</a:t>
            </a:r>
            <a:r>
              <a:rPr lang="en-GB" sz="2400" b="1" baseline="30000" dirty="0">
                <a:latin typeface="Arial" panose="020B0604020202020204" pitchFamily="34" charset="0"/>
                <a:cs typeface="Arial" panose="020B0604020202020204" pitchFamily="34" charset="0"/>
              </a:rPr>
              <a:t>th</a:t>
            </a:r>
            <a:r>
              <a:rPr lang="en-GB" sz="2400" b="1" dirty="0">
                <a:latin typeface="Arial" panose="020B0604020202020204" pitchFamily="34" charset="0"/>
                <a:cs typeface="Arial" panose="020B0604020202020204" pitchFamily="34" charset="0"/>
              </a:rPr>
              <a:t> - Cranfield University</a:t>
            </a:r>
          </a:p>
        </p:txBody>
      </p:sp>
      <p:sp>
        <p:nvSpPr>
          <p:cNvPr id="15" name="TextBox 14">
            <a:extLst>
              <a:ext uri="{FF2B5EF4-FFF2-40B4-BE49-F238E27FC236}">
                <a16:creationId xmlns:a16="http://schemas.microsoft.com/office/drawing/2014/main" id="{A57C6EA5-6146-34C0-FA30-D827C5FACC73}"/>
              </a:ext>
            </a:extLst>
          </p:cNvPr>
          <p:cNvSpPr txBox="1"/>
          <p:nvPr/>
        </p:nvSpPr>
        <p:spPr>
          <a:xfrm>
            <a:off x="679330" y="1233577"/>
            <a:ext cx="6103188" cy="369332"/>
          </a:xfrm>
          <a:prstGeom prst="rect">
            <a:avLst/>
          </a:prstGeom>
          <a:noFill/>
        </p:spPr>
        <p:txBody>
          <a:bodyPr wrap="square">
            <a:spAutoFit/>
          </a:bodyPr>
          <a:lstStyle/>
          <a:p>
            <a:pPr algn="ctr"/>
            <a:r>
              <a:rPr lang="en-GB" b="1" dirty="0">
                <a:latin typeface="Arial" panose="020B0604020202020204" pitchFamily="34" charset="0"/>
                <a:cs typeface="Arial" panose="020B0604020202020204" pitchFamily="34" charset="0"/>
              </a:rPr>
              <a:t>United in purpose, driven in practice</a:t>
            </a:r>
            <a:r>
              <a:rPr lang="en-GB" dirty="0"/>
              <a:t>.</a:t>
            </a:r>
          </a:p>
        </p:txBody>
      </p:sp>
    </p:spTree>
    <p:extLst>
      <p:ext uri="{BB962C8B-B14F-4D97-AF65-F5344CB8AC3E}">
        <p14:creationId xmlns:p14="http://schemas.microsoft.com/office/powerpoint/2010/main" val="42426635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EBD51-17D4-B04B-A079-43A5E85F11E3}"/>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ABD458F0-5352-C6D5-2CC8-028F17BCDBD3}"/>
              </a:ext>
            </a:extLst>
          </p:cNvPr>
          <p:cNvSpPr/>
          <p:nvPr/>
        </p:nvSpPr>
        <p:spPr>
          <a:xfrm>
            <a:off x="254025" y="6540501"/>
            <a:ext cx="1676400" cy="184151"/>
          </a:xfrm>
          <a:prstGeom prst="rect">
            <a:avLst/>
          </a:prstGeom>
          <a:noFill/>
          <a:ln/>
        </p:spPr>
        <p:txBody>
          <a:bodyPr wrap="square" rtlCol="0" anchor="ctr"/>
          <a:lstStyle/>
          <a:p>
            <a:pPr defTabSz="1219170">
              <a:lnSpc>
                <a:spcPts val="1432"/>
              </a:lnSpc>
              <a:buClr>
                <a:srgbClr val="000000"/>
              </a:buClr>
              <a:defRPr/>
            </a:pPr>
            <a:r>
              <a:rPr lang="en-US" sz="1100" kern="0" spc="-33" dirty="0">
                <a:solidFill>
                  <a:srgbClr val="FFFFFF">
                    <a:alpha val="99000"/>
                  </a:srgbClr>
                </a:solidFill>
                <a:latin typeface="DM Sans" pitchFamily="34" charset="0"/>
                <a:ea typeface="DM Sans" pitchFamily="34" charset="-122"/>
                <a:cs typeface="DM Sans" pitchFamily="34" charset="-120"/>
                <a:sym typeface="Arial"/>
              </a:rPr>
              <a:t>Virty Health</a:t>
            </a:r>
            <a:endParaRPr lang="en-US" sz="1100" kern="0" dirty="0">
              <a:solidFill>
                <a:srgbClr val="000000"/>
              </a:solidFill>
              <a:latin typeface="Arial"/>
              <a:cs typeface="Arial"/>
              <a:sym typeface="Arial"/>
            </a:endParaRPr>
          </a:p>
        </p:txBody>
      </p:sp>
      <p:sp>
        <p:nvSpPr>
          <p:cNvPr id="3" name="Text 1">
            <a:extLst>
              <a:ext uri="{FF2B5EF4-FFF2-40B4-BE49-F238E27FC236}">
                <a16:creationId xmlns:a16="http://schemas.microsoft.com/office/drawing/2014/main" id="{D7135309-D3C6-560F-23CE-F31B9FBCF668}"/>
              </a:ext>
            </a:extLst>
          </p:cNvPr>
          <p:cNvSpPr/>
          <p:nvPr/>
        </p:nvSpPr>
        <p:spPr>
          <a:xfrm>
            <a:off x="254000" y="228601"/>
            <a:ext cx="8350251" cy="368300"/>
          </a:xfrm>
          <a:prstGeom prst="rect">
            <a:avLst/>
          </a:prstGeom>
          <a:noFill/>
          <a:ln/>
        </p:spPr>
        <p:txBody>
          <a:bodyPr wrap="square" rtlCol="0" anchor="ctr"/>
          <a:lstStyle/>
          <a:p>
            <a:pPr defTabSz="1219170">
              <a:lnSpc>
                <a:spcPts val="2880"/>
              </a:lnSpc>
              <a:buClr>
                <a:srgbClr val="000000"/>
              </a:buClr>
              <a:defRPr/>
            </a:pPr>
            <a:r>
              <a:rPr lang="en-US" sz="2400" b="1" kern="0" spc="-48" dirty="0">
                <a:solidFill>
                  <a:srgbClr val="16A34A">
                    <a:alpha val="99000"/>
                  </a:srgbClr>
                </a:solidFill>
                <a:latin typeface="DM Sans" pitchFamily="34" charset="0"/>
                <a:ea typeface="DM Sans" pitchFamily="34" charset="-122"/>
                <a:cs typeface="DM Sans" pitchFamily="34" charset="-120"/>
                <a:sym typeface="Arial"/>
              </a:rPr>
              <a:t>Virty: </a:t>
            </a:r>
            <a:r>
              <a:rPr lang="en-US" sz="2400" b="1" kern="0" spc="-48" dirty="0">
                <a:solidFill>
                  <a:srgbClr val="01240E">
                    <a:alpha val="99000"/>
                  </a:srgbClr>
                </a:solidFill>
                <a:latin typeface="DM Sans" pitchFamily="34" charset="0"/>
                <a:ea typeface="DM Sans" pitchFamily="34" charset="-122"/>
                <a:cs typeface="DM Sans" pitchFamily="34" charset="-120"/>
                <a:sym typeface="Arial"/>
              </a:rPr>
              <a:t>Extending preventative care beyond the counter</a:t>
            </a:r>
            <a:endParaRPr lang="en-US" sz="2400" kern="0" dirty="0">
              <a:solidFill>
                <a:srgbClr val="000000"/>
              </a:solidFill>
              <a:latin typeface="Arial"/>
              <a:cs typeface="Arial"/>
              <a:sym typeface="Arial"/>
            </a:endParaRPr>
          </a:p>
        </p:txBody>
      </p:sp>
      <p:sp>
        <p:nvSpPr>
          <p:cNvPr id="4" name="Shape 2">
            <a:extLst>
              <a:ext uri="{FF2B5EF4-FFF2-40B4-BE49-F238E27FC236}">
                <a16:creationId xmlns:a16="http://schemas.microsoft.com/office/drawing/2014/main" id="{547208CD-05CD-7349-05B7-E558F1BE2553}"/>
              </a:ext>
            </a:extLst>
          </p:cNvPr>
          <p:cNvSpPr/>
          <p:nvPr/>
        </p:nvSpPr>
        <p:spPr>
          <a:xfrm>
            <a:off x="355600" y="984251"/>
            <a:ext cx="11480800" cy="3860800"/>
          </a:xfrm>
          <a:prstGeom prst="rect">
            <a:avLst/>
          </a:prstGeom>
          <a:noFill/>
          <a:ln/>
        </p:spPr>
        <p:txBody>
          <a:bodyPr/>
          <a:lstStyle/>
          <a:p>
            <a:pPr defTabSz="1219170">
              <a:buClr>
                <a:srgbClr val="000000"/>
              </a:buClr>
              <a:defRPr/>
            </a:pPr>
            <a:endParaRPr lang="en-GB" sz="1867" kern="0">
              <a:solidFill>
                <a:srgbClr val="000000"/>
              </a:solidFill>
              <a:latin typeface="Arial"/>
              <a:cs typeface="Arial"/>
              <a:sym typeface="Arial"/>
            </a:endParaRPr>
          </a:p>
        </p:txBody>
      </p:sp>
      <p:sp>
        <p:nvSpPr>
          <p:cNvPr id="5" name="Shape 3">
            <a:extLst>
              <a:ext uri="{FF2B5EF4-FFF2-40B4-BE49-F238E27FC236}">
                <a16:creationId xmlns:a16="http://schemas.microsoft.com/office/drawing/2014/main" id="{58B8A944-158A-ED1E-0296-CD77EFF37684}"/>
              </a:ext>
            </a:extLst>
          </p:cNvPr>
          <p:cNvSpPr/>
          <p:nvPr/>
        </p:nvSpPr>
        <p:spPr>
          <a:xfrm>
            <a:off x="319881" y="865188"/>
            <a:ext cx="5638800" cy="5022849"/>
          </a:xfrm>
          <a:prstGeom prst="roundRect">
            <a:avLst>
              <a:gd name="adj" fmla="val 7579"/>
            </a:avLst>
          </a:prstGeom>
          <a:solidFill>
            <a:schemeClr val="bg1"/>
          </a:solidFill>
          <a:ln>
            <a:solidFill>
              <a:schemeClr val="bg2"/>
            </a:solidFill>
          </a:ln>
        </p:spPr>
        <p:txBody>
          <a:bodyPr lIns="121920" tIns="60960" rIns="121920" bIns="60960" anchor="t"/>
          <a:lstStyle/>
          <a:p>
            <a:pPr defTabSz="1219170">
              <a:buClr>
                <a:srgbClr val="000000"/>
              </a:buClr>
              <a:defRPr/>
            </a:pPr>
            <a:endParaRPr lang="en-GB" sz="1867" kern="0">
              <a:solidFill>
                <a:srgbClr val="000000"/>
              </a:solidFill>
              <a:latin typeface="Arial"/>
              <a:cs typeface="Arial"/>
              <a:sym typeface="Arial"/>
            </a:endParaRPr>
          </a:p>
        </p:txBody>
      </p:sp>
      <p:sp>
        <p:nvSpPr>
          <p:cNvPr id="6" name="Shape 4">
            <a:extLst>
              <a:ext uri="{FF2B5EF4-FFF2-40B4-BE49-F238E27FC236}">
                <a16:creationId xmlns:a16="http://schemas.microsoft.com/office/drawing/2014/main" id="{65F509A8-5E7D-4201-673C-13BB2818BA5A}"/>
              </a:ext>
            </a:extLst>
          </p:cNvPr>
          <p:cNvSpPr/>
          <p:nvPr/>
        </p:nvSpPr>
        <p:spPr>
          <a:xfrm>
            <a:off x="558800" y="1187451"/>
            <a:ext cx="5232400" cy="2324100"/>
          </a:xfrm>
          <a:prstGeom prst="rect">
            <a:avLst/>
          </a:prstGeom>
          <a:noFill/>
          <a:ln/>
        </p:spPr>
        <p:txBody>
          <a:bodyPr/>
          <a:lstStyle/>
          <a:p>
            <a:pPr defTabSz="1219170">
              <a:buClr>
                <a:srgbClr val="000000"/>
              </a:buClr>
              <a:defRPr/>
            </a:pPr>
            <a:endParaRPr lang="en-GB" sz="1867" kern="0">
              <a:solidFill>
                <a:srgbClr val="000000"/>
              </a:solidFill>
              <a:latin typeface="Arial"/>
              <a:cs typeface="Arial"/>
              <a:sym typeface="Arial"/>
            </a:endParaRPr>
          </a:p>
        </p:txBody>
      </p:sp>
      <p:sp>
        <p:nvSpPr>
          <p:cNvPr id="7" name="Text 5">
            <a:extLst>
              <a:ext uri="{FF2B5EF4-FFF2-40B4-BE49-F238E27FC236}">
                <a16:creationId xmlns:a16="http://schemas.microsoft.com/office/drawing/2014/main" id="{0E019CD3-CDE1-6F21-BE3C-C4A79086A8D7}"/>
              </a:ext>
            </a:extLst>
          </p:cNvPr>
          <p:cNvSpPr/>
          <p:nvPr/>
        </p:nvSpPr>
        <p:spPr>
          <a:xfrm>
            <a:off x="624284" y="1068389"/>
            <a:ext cx="5842000" cy="317500"/>
          </a:xfrm>
          <a:prstGeom prst="rect">
            <a:avLst/>
          </a:prstGeom>
          <a:noFill/>
          <a:ln/>
        </p:spPr>
        <p:txBody>
          <a:bodyPr wrap="square" rtlCol="0" anchor="ctr"/>
          <a:lstStyle/>
          <a:p>
            <a:pPr defTabSz="1219170">
              <a:lnSpc>
                <a:spcPts val="2508"/>
              </a:lnSpc>
              <a:buClr>
                <a:srgbClr val="000000"/>
              </a:buClr>
              <a:defRPr/>
            </a:pPr>
            <a:r>
              <a:rPr lang="en-US" sz="1900" b="1" kern="0" spc="-37" dirty="0">
                <a:solidFill>
                  <a:srgbClr val="01240E">
                    <a:alpha val="99000"/>
                  </a:srgbClr>
                </a:solidFill>
                <a:latin typeface="DM Sans" pitchFamily="34" charset="0"/>
                <a:ea typeface="DM Sans" pitchFamily="34" charset="-122"/>
                <a:cs typeface="DM Sans" pitchFamily="34" charset="-120"/>
                <a:sym typeface="Arial"/>
              </a:rPr>
              <a:t>What is Virty</a:t>
            </a:r>
            <a:endParaRPr lang="en-US" sz="1900" kern="0" dirty="0">
              <a:solidFill>
                <a:srgbClr val="000000"/>
              </a:solidFill>
              <a:latin typeface="Arial"/>
              <a:cs typeface="Arial"/>
              <a:sym typeface="Arial"/>
            </a:endParaRPr>
          </a:p>
        </p:txBody>
      </p:sp>
      <p:sp>
        <p:nvSpPr>
          <p:cNvPr id="8" name="Text 6">
            <a:extLst>
              <a:ext uri="{FF2B5EF4-FFF2-40B4-BE49-F238E27FC236}">
                <a16:creationId xmlns:a16="http://schemas.microsoft.com/office/drawing/2014/main" id="{DC8A066C-3FC2-F3E8-9E8F-C7B9DD0808FE}"/>
              </a:ext>
            </a:extLst>
          </p:cNvPr>
          <p:cNvSpPr/>
          <p:nvPr/>
        </p:nvSpPr>
        <p:spPr>
          <a:xfrm>
            <a:off x="624285" y="2293540"/>
            <a:ext cx="5258593" cy="2052240"/>
          </a:xfrm>
          <a:prstGeom prst="rect">
            <a:avLst/>
          </a:prstGeom>
          <a:noFill/>
          <a:ln/>
        </p:spPr>
        <p:txBody>
          <a:bodyPr wrap="square" lIns="121920" tIns="60960" rIns="121920" bIns="60960" rtlCol="0" anchor="ctr"/>
          <a:lstStyle/>
          <a:p>
            <a:pPr defTabSz="1219170">
              <a:lnSpc>
                <a:spcPts val="1848"/>
              </a:lnSpc>
              <a:buClr>
                <a:srgbClr val="000000"/>
              </a:buClr>
              <a:defRPr/>
            </a:pPr>
            <a:r>
              <a:rPr lang="en-US" sz="1400" kern="0" spc="-28" dirty="0">
                <a:solidFill>
                  <a:srgbClr val="01240E">
                    <a:alpha val="99000"/>
                  </a:srgbClr>
                </a:solidFill>
                <a:latin typeface="DM Sans"/>
                <a:ea typeface="DM Sans" pitchFamily="34" charset="-122"/>
                <a:cs typeface="DM Sans" pitchFamily="34" charset="-120"/>
                <a:sym typeface="Arial"/>
              </a:rPr>
              <a:t>A 24/7 doctor-led digital health service for continuous monitoring, proactive intervention and lifestyle support.</a:t>
            </a:r>
          </a:p>
          <a:p>
            <a:pPr defTabSz="1219170">
              <a:lnSpc>
                <a:spcPts val="1848"/>
              </a:lnSpc>
              <a:buClr>
                <a:srgbClr val="000000"/>
              </a:buClr>
              <a:defRPr/>
            </a:pPr>
            <a:endParaRPr lang="en-US" sz="1400" kern="0" dirty="0">
              <a:solidFill>
                <a:srgbClr val="000000"/>
              </a:solidFill>
              <a:latin typeface="Arial"/>
              <a:cs typeface="Arial"/>
              <a:sym typeface="Arial"/>
            </a:endParaRPr>
          </a:p>
          <a:p>
            <a:pPr marL="228594" indent="-228594" defTabSz="1219170">
              <a:lnSpc>
                <a:spcPts val="1848"/>
              </a:lnSpc>
              <a:buClr>
                <a:srgbClr val="000000"/>
              </a:buClr>
              <a:buSzPct val="100000"/>
              <a:buFont typeface="Arial"/>
              <a:buChar char="•"/>
              <a:defRPr/>
            </a:pPr>
            <a:r>
              <a:rPr lang="en-US" sz="1400" kern="0" spc="-28" dirty="0">
                <a:solidFill>
                  <a:srgbClr val="01240E">
                    <a:alpha val="99000"/>
                  </a:srgbClr>
                </a:solidFill>
                <a:latin typeface="DM Sans" pitchFamily="34" charset="0"/>
                <a:ea typeface="DM Sans" pitchFamily="34" charset="-122"/>
                <a:cs typeface="DM Sans" pitchFamily="34" charset="-120"/>
                <a:sym typeface="Arial"/>
              </a:rPr>
              <a:t>We offer subscription plans that support patient across </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weight management, mental wellbeing and several </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Long-Term Condition</a:t>
            </a:r>
          </a:p>
          <a:p>
            <a:pPr defTabSz="1219170">
              <a:lnSpc>
                <a:spcPts val="1848"/>
              </a:lnSpc>
              <a:buClr>
                <a:srgbClr val="000000"/>
              </a:buClr>
              <a:buSzPct val="100000"/>
              <a:defRPr/>
            </a:pPr>
            <a:endParaRPr lang="en-US" sz="1400" kern="0" spc="-28" dirty="0">
              <a:solidFill>
                <a:srgbClr val="01240E">
                  <a:alpha val="99000"/>
                </a:srgbClr>
              </a:solidFill>
              <a:latin typeface="DM Sans"/>
              <a:ea typeface="DM Sans" pitchFamily="34" charset="-122"/>
              <a:cs typeface="DM Sans" pitchFamily="34" charset="-120"/>
              <a:sym typeface="Arial"/>
            </a:endParaRPr>
          </a:p>
          <a:p>
            <a:pPr marL="228594" indent="-228594" defTabSz="1219170">
              <a:lnSpc>
                <a:spcPts val="1848"/>
              </a:lnSpc>
              <a:buClr>
                <a:srgbClr val="000000"/>
              </a:buClr>
              <a:buSzPct val="100000"/>
              <a:buFont typeface="Arial" panose="020B0604020202020204" pitchFamily="34" charset="0"/>
              <a:buChar char="•"/>
              <a:defRPr/>
            </a:pPr>
            <a:r>
              <a:rPr lang="en-US" sz="1400" kern="0" spc="-28" dirty="0">
                <a:solidFill>
                  <a:srgbClr val="01240E">
                    <a:alpha val="99000"/>
                  </a:srgbClr>
                </a:solidFill>
                <a:latin typeface="DM Sans"/>
                <a:ea typeface="DM Sans" pitchFamily="34" charset="-122"/>
                <a:cs typeface="DM Sans" pitchFamily="34" charset="-120"/>
                <a:sym typeface="Arial"/>
              </a:rPr>
              <a:t>We offer subscription plans for real time continuous</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monitoring of a patient and their families health for peace</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of mind. </a:t>
            </a:r>
          </a:p>
          <a:p>
            <a:pPr defTabSz="1219170">
              <a:lnSpc>
                <a:spcPts val="1848"/>
              </a:lnSpc>
              <a:buClr>
                <a:srgbClr val="000000"/>
              </a:buClr>
              <a:defRPr/>
            </a:pPr>
            <a:endParaRPr lang="en-US" sz="1400" kern="0" spc="-28" dirty="0">
              <a:solidFill>
                <a:srgbClr val="01240E">
                  <a:alpha val="99000"/>
                </a:srgbClr>
              </a:solidFill>
              <a:latin typeface="DM Sans"/>
              <a:ea typeface="DM Sans" pitchFamily="34" charset="-122"/>
              <a:cs typeface="DM Sans" pitchFamily="34" charset="-120"/>
              <a:sym typeface="Arial"/>
            </a:endParaRPr>
          </a:p>
          <a:p>
            <a:pPr defTabSz="1219170">
              <a:lnSpc>
                <a:spcPts val="1848"/>
              </a:lnSpc>
              <a:buClr>
                <a:srgbClr val="000000"/>
              </a:buClr>
              <a:buSzPct val="100000"/>
              <a:defRPr/>
            </a:pPr>
            <a:r>
              <a:rPr lang="en-US" sz="1400" kern="0" spc="-28" dirty="0">
                <a:solidFill>
                  <a:srgbClr val="01240E">
                    <a:alpha val="99000"/>
                  </a:srgbClr>
                </a:solidFill>
                <a:latin typeface="DM Sans" pitchFamily="34" charset="0"/>
                <a:ea typeface="DM Sans" pitchFamily="34" charset="-122"/>
                <a:cs typeface="DM Sans" pitchFamily="34" charset="-120"/>
                <a:sym typeface="Arial"/>
              </a:rPr>
              <a:t>We turn health data into clinically actioned care.</a:t>
            </a:r>
          </a:p>
          <a:p>
            <a:pPr defTabSz="1219170">
              <a:lnSpc>
                <a:spcPts val="1848"/>
              </a:lnSpc>
              <a:buClr>
                <a:srgbClr val="000000"/>
              </a:buClr>
              <a:buSzPct val="100000"/>
              <a:defRPr/>
            </a:pPr>
            <a:r>
              <a:rPr lang="en-GB" sz="1400" kern="0" dirty="0">
                <a:solidFill>
                  <a:srgbClr val="000000"/>
                </a:solidFill>
                <a:latin typeface="Arial"/>
                <a:cs typeface="Arial"/>
                <a:sym typeface="Arial"/>
                <a:hlinkClick r:id="rId3"/>
              </a:rPr>
              <a:t>Virty</a:t>
            </a:r>
            <a:endParaRPr lang="en-US" sz="1400" kern="0" spc="-28" dirty="0">
              <a:solidFill>
                <a:srgbClr val="01240E">
                  <a:alpha val="99000"/>
                </a:srgbClr>
              </a:solidFill>
              <a:latin typeface="DM Sans" pitchFamily="34" charset="0"/>
              <a:ea typeface="DM Sans" pitchFamily="34" charset="-122"/>
              <a:cs typeface="DM Sans" pitchFamily="34" charset="-120"/>
              <a:sym typeface="Arial"/>
            </a:endParaRPr>
          </a:p>
        </p:txBody>
      </p:sp>
      <p:sp>
        <p:nvSpPr>
          <p:cNvPr id="9" name="Shape 7">
            <a:extLst>
              <a:ext uri="{FF2B5EF4-FFF2-40B4-BE49-F238E27FC236}">
                <a16:creationId xmlns:a16="http://schemas.microsoft.com/office/drawing/2014/main" id="{3B26AC80-254E-AD4C-F19D-AB8AF6AC38FE}"/>
              </a:ext>
            </a:extLst>
          </p:cNvPr>
          <p:cNvSpPr/>
          <p:nvPr/>
        </p:nvSpPr>
        <p:spPr>
          <a:xfrm>
            <a:off x="6078140" y="850901"/>
            <a:ext cx="5638800" cy="5022848"/>
          </a:xfrm>
          <a:prstGeom prst="roundRect">
            <a:avLst>
              <a:gd name="adj" fmla="val 7579"/>
            </a:avLst>
          </a:prstGeom>
          <a:solidFill>
            <a:schemeClr val="bg1"/>
          </a:solidFill>
          <a:ln>
            <a:solidFill>
              <a:schemeClr val="bg2"/>
            </a:solidFill>
          </a:ln>
        </p:spPr>
        <p:txBody>
          <a:bodyPr/>
          <a:lstStyle/>
          <a:p>
            <a:pPr defTabSz="1219170">
              <a:buClr>
                <a:srgbClr val="000000"/>
              </a:buClr>
              <a:defRPr/>
            </a:pPr>
            <a:endParaRPr lang="en-GB" sz="1867" kern="0">
              <a:solidFill>
                <a:srgbClr val="000000"/>
              </a:solidFill>
              <a:latin typeface="Arial"/>
              <a:cs typeface="Arial"/>
              <a:sym typeface="Arial"/>
            </a:endParaRPr>
          </a:p>
        </p:txBody>
      </p:sp>
      <p:sp>
        <p:nvSpPr>
          <p:cNvPr id="10" name="Text 8">
            <a:extLst>
              <a:ext uri="{FF2B5EF4-FFF2-40B4-BE49-F238E27FC236}">
                <a16:creationId xmlns:a16="http://schemas.microsoft.com/office/drawing/2014/main" id="{B2D6BA5B-8BD5-AB77-9466-8A4948B01727}"/>
              </a:ext>
            </a:extLst>
          </p:cNvPr>
          <p:cNvSpPr/>
          <p:nvPr/>
        </p:nvSpPr>
        <p:spPr>
          <a:xfrm>
            <a:off x="6323409" y="1014811"/>
            <a:ext cx="5842000" cy="317500"/>
          </a:xfrm>
          <a:prstGeom prst="rect">
            <a:avLst/>
          </a:prstGeom>
          <a:noFill/>
          <a:ln/>
        </p:spPr>
        <p:txBody>
          <a:bodyPr wrap="square" rtlCol="0" anchor="ctr"/>
          <a:lstStyle/>
          <a:p>
            <a:pPr defTabSz="1219170">
              <a:lnSpc>
                <a:spcPts val="2508"/>
              </a:lnSpc>
              <a:buClr>
                <a:srgbClr val="000000"/>
              </a:buClr>
              <a:defRPr/>
            </a:pPr>
            <a:r>
              <a:rPr lang="en-US" sz="1900" b="1" kern="0" spc="-37" dirty="0">
                <a:solidFill>
                  <a:srgbClr val="01240E">
                    <a:alpha val="99000"/>
                  </a:srgbClr>
                </a:solidFill>
                <a:latin typeface="DM Sans" pitchFamily="34" charset="0"/>
                <a:ea typeface="DM Sans" pitchFamily="34" charset="-122"/>
                <a:cs typeface="DM Sans" pitchFamily="34" charset="-120"/>
                <a:sym typeface="Arial"/>
              </a:rPr>
              <a:t>Why is Virty different</a:t>
            </a:r>
            <a:endParaRPr lang="en-US" sz="1900" kern="0" dirty="0">
              <a:solidFill>
                <a:srgbClr val="000000"/>
              </a:solidFill>
              <a:latin typeface="Arial"/>
              <a:cs typeface="Arial"/>
              <a:sym typeface="Arial"/>
            </a:endParaRPr>
          </a:p>
        </p:txBody>
      </p:sp>
      <p:sp>
        <p:nvSpPr>
          <p:cNvPr id="11" name="Text 9">
            <a:extLst>
              <a:ext uri="{FF2B5EF4-FFF2-40B4-BE49-F238E27FC236}">
                <a16:creationId xmlns:a16="http://schemas.microsoft.com/office/drawing/2014/main" id="{FB2142D9-C175-0BA1-80F1-E4FBE634D993}"/>
              </a:ext>
            </a:extLst>
          </p:cNvPr>
          <p:cNvSpPr/>
          <p:nvPr/>
        </p:nvSpPr>
        <p:spPr>
          <a:xfrm>
            <a:off x="6323410" y="1465263"/>
            <a:ext cx="5234781" cy="3708795"/>
          </a:xfrm>
          <a:prstGeom prst="rect">
            <a:avLst/>
          </a:prstGeom>
          <a:noFill/>
          <a:ln/>
        </p:spPr>
        <p:txBody>
          <a:bodyPr wrap="square" lIns="121920" tIns="60960" rIns="121920" bIns="60960" rtlCol="0" anchor="ctr"/>
          <a:lstStyle/>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pitchFamily="34" charset="0"/>
                <a:ea typeface="DM Sans" pitchFamily="34" charset="-122"/>
                <a:cs typeface="DM Sans" pitchFamily="34" charset="-120"/>
                <a:sym typeface="Arial"/>
              </a:rPr>
              <a:t>Doctor Led Monitoring:</a:t>
            </a:r>
            <a:r>
              <a:rPr lang="en-US" sz="1400" kern="0" spc="-28" dirty="0">
                <a:solidFill>
                  <a:srgbClr val="01240E">
                    <a:alpha val="99000"/>
                  </a:srgbClr>
                </a:solidFill>
                <a:latin typeface="DM Sans" pitchFamily="34" charset="0"/>
                <a:ea typeface="DM Sans" pitchFamily="34" charset="-122"/>
                <a:cs typeface="DM Sans" pitchFamily="34" charset="-120"/>
                <a:sym typeface="Arial"/>
              </a:rPr>
              <a:t> for ongoing clinical oversight</a:t>
            </a:r>
            <a:endParaRPr lang="en-US" sz="1400" kern="0" dirty="0">
              <a:solidFill>
                <a:srgbClr val="000000"/>
              </a:solidFill>
              <a:latin typeface="Arial"/>
              <a:ea typeface="Calibri" panose="020F0502020204030204"/>
              <a:cs typeface="Calibri" panose="020F0502020204030204"/>
              <a:sym typeface="Arial"/>
            </a:endParaRPr>
          </a:p>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pitchFamily="34" charset="0"/>
                <a:ea typeface="DM Sans" pitchFamily="34" charset="-122"/>
                <a:cs typeface="DM Sans" pitchFamily="34" charset="-120"/>
                <a:sym typeface="Arial"/>
              </a:rPr>
              <a:t>Data with meaning:</a:t>
            </a:r>
            <a:r>
              <a:rPr lang="en-US" sz="1400" kern="0" spc="-28" dirty="0">
                <a:solidFill>
                  <a:srgbClr val="01240E">
                    <a:alpha val="99000"/>
                  </a:srgbClr>
                </a:solidFill>
                <a:latin typeface="DM Sans" pitchFamily="34" charset="0"/>
                <a:ea typeface="DM Sans" pitchFamily="34" charset="-122"/>
                <a:cs typeface="DM Sans" pitchFamily="34" charset="-120"/>
                <a:sym typeface="Arial"/>
              </a:rPr>
              <a:t> wearable and health metrics are </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interpreted and actionable insights are provided</a:t>
            </a:r>
            <a:endParaRPr lang="en-US" sz="1400" kern="0" dirty="0">
              <a:solidFill>
                <a:srgbClr val="000000"/>
              </a:solidFill>
              <a:latin typeface="DM Sans"/>
              <a:cs typeface="Arial"/>
              <a:sym typeface="Arial"/>
            </a:endParaRPr>
          </a:p>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pitchFamily="34" charset="0"/>
                <a:ea typeface="DM Sans" pitchFamily="34" charset="-122"/>
                <a:cs typeface="DM Sans" pitchFamily="34" charset="-120"/>
                <a:sym typeface="Arial"/>
              </a:rPr>
              <a:t>Proactive prevention:</a:t>
            </a:r>
            <a:r>
              <a:rPr lang="en-US" sz="1400" b="1" kern="0" spc="-28" dirty="0">
                <a:solidFill>
                  <a:srgbClr val="01240E">
                    <a:alpha val="99000"/>
                  </a:srgbClr>
                </a:solidFill>
                <a:latin typeface="DM Sans" pitchFamily="34" charset="0"/>
                <a:ea typeface="DM Sans" pitchFamily="34" charset="-122"/>
                <a:cs typeface="DM Sans" pitchFamily="34" charset="-120"/>
                <a:sym typeface="Arial"/>
              </a:rPr>
              <a:t> </a:t>
            </a:r>
            <a:r>
              <a:rPr lang="en-US" sz="1400" kern="0" spc="-28" dirty="0">
                <a:solidFill>
                  <a:srgbClr val="01240E">
                    <a:alpha val="99000"/>
                  </a:srgbClr>
                </a:solidFill>
                <a:latin typeface="DM Sans" pitchFamily="34" charset="0"/>
                <a:ea typeface="DM Sans" pitchFamily="34" charset="-122"/>
                <a:cs typeface="DM Sans" pitchFamily="34" charset="-120"/>
                <a:sym typeface="Arial"/>
              </a:rPr>
              <a:t>early intervention before problems escalate</a:t>
            </a:r>
            <a:endParaRPr lang="en-US" sz="1400" kern="0" dirty="0">
              <a:solidFill>
                <a:srgbClr val="000000"/>
              </a:solidFill>
              <a:latin typeface="Arial"/>
              <a:ea typeface="Calibri" panose="020F0502020204030204"/>
              <a:cs typeface="Calibri" panose="020F0502020204030204"/>
              <a:sym typeface="Arial"/>
            </a:endParaRPr>
          </a:p>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a:ea typeface="DM Sans" pitchFamily="34" charset="-122"/>
                <a:cs typeface="DM Sans" pitchFamily="34" charset="-120"/>
                <a:sym typeface="Arial"/>
              </a:rPr>
              <a:t>Holistic care:</a:t>
            </a:r>
            <a:r>
              <a:rPr lang="en-US" sz="1400" b="1" kern="0" spc="-28" dirty="0">
                <a:solidFill>
                  <a:srgbClr val="01240E">
                    <a:alpha val="99000"/>
                  </a:srgbClr>
                </a:solidFill>
                <a:latin typeface="DM Sans"/>
                <a:ea typeface="DM Sans" pitchFamily="34" charset="-122"/>
                <a:cs typeface="DM Sans" pitchFamily="34" charset="-120"/>
                <a:sym typeface="Arial"/>
              </a:rPr>
              <a:t> </a:t>
            </a:r>
            <a:r>
              <a:rPr lang="en-US" sz="1400" kern="0" spc="-28" dirty="0">
                <a:solidFill>
                  <a:srgbClr val="01240E">
                    <a:alpha val="99000"/>
                  </a:srgbClr>
                </a:solidFill>
                <a:latin typeface="DM Sans"/>
                <a:ea typeface="DM Sans" pitchFamily="34" charset="-122"/>
                <a:cs typeface="DM Sans" pitchFamily="34" charset="-120"/>
                <a:sym typeface="Arial"/>
              </a:rPr>
              <a:t>such as lifestyle, nutrition and behaviour </a:t>
            </a:r>
          </a:p>
          <a:p>
            <a:pPr defTabSz="1219170">
              <a:lnSpc>
                <a:spcPts val="1848"/>
              </a:lnSpc>
              <a:buClr>
                <a:srgbClr val="000000"/>
              </a:buClr>
              <a:buSzPct val="100000"/>
              <a:defRPr/>
            </a:pPr>
            <a:r>
              <a:rPr lang="en-US" sz="1400" kern="0" spc="-28" dirty="0">
                <a:solidFill>
                  <a:srgbClr val="01240E">
                    <a:alpha val="99000"/>
                  </a:srgbClr>
                </a:solidFill>
                <a:latin typeface="DM Sans" pitchFamily="34" charset="0"/>
                <a:ea typeface="DM Sans" pitchFamily="34" charset="-122"/>
                <a:cs typeface="DM Sans" pitchFamily="34" charset="-120"/>
                <a:sym typeface="Arial"/>
              </a:rPr>
              <a:t>      change support</a:t>
            </a:r>
            <a:endParaRPr lang="en-US" sz="1400" kern="0" dirty="0">
              <a:solidFill>
                <a:srgbClr val="000000"/>
              </a:solidFill>
              <a:latin typeface="Arial"/>
              <a:cs typeface="Arial"/>
              <a:sym typeface="Arial"/>
            </a:endParaRPr>
          </a:p>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pitchFamily="34" charset="0"/>
                <a:ea typeface="DM Sans" pitchFamily="34" charset="-122"/>
                <a:cs typeface="DM Sans" pitchFamily="34" charset="-120"/>
                <a:sym typeface="Arial"/>
              </a:rPr>
              <a:t>A circle of care:</a:t>
            </a:r>
            <a:r>
              <a:rPr lang="en-US" sz="1400" b="1" kern="0" spc="-28" dirty="0">
                <a:solidFill>
                  <a:srgbClr val="01240E">
                    <a:alpha val="99000"/>
                  </a:srgbClr>
                </a:solidFill>
                <a:latin typeface="DM Sans" pitchFamily="34" charset="0"/>
                <a:ea typeface="DM Sans" pitchFamily="34" charset="-122"/>
                <a:cs typeface="DM Sans" pitchFamily="34" charset="-120"/>
                <a:sym typeface="Arial"/>
              </a:rPr>
              <a:t> </a:t>
            </a:r>
            <a:r>
              <a:rPr lang="en-US" sz="1400" kern="0" spc="-28" dirty="0">
                <a:solidFill>
                  <a:srgbClr val="01240E">
                    <a:alpha val="99000"/>
                  </a:srgbClr>
                </a:solidFill>
                <a:latin typeface="DM Sans" pitchFamily="34" charset="0"/>
                <a:ea typeface="DM Sans" pitchFamily="34" charset="-122"/>
                <a:cs typeface="DM Sans" pitchFamily="34" charset="-120"/>
                <a:sym typeface="Arial"/>
              </a:rPr>
              <a:t>care is coordinated, not conflicting. Named clinicians are providing continuity and team-based care</a:t>
            </a:r>
            <a:endParaRPr lang="en-US" sz="1400" kern="0" dirty="0">
              <a:solidFill>
                <a:srgbClr val="000000"/>
              </a:solidFill>
              <a:latin typeface="Arial"/>
              <a:ea typeface="Calibri" panose="020F0502020204030204"/>
              <a:cs typeface="Calibri" panose="020F0502020204030204"/>
              <a:sym typeface="Arial"/>
            </a:endParaRPr>
          </a:p>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a:ea typeface="DM Sans" pitchFamily="34" charset="-122"/>
                <a:cs typeface="DM Sans" pitchFamily="34" charset="-120"/>
                <a:sym typeface="Arial"/>
              </a:rPr>
              <a:t>Local, pharmacy-led marketing:</a:t>
            </a:r>
            <a:r>
              <a:rPr lang="en-US" sz="1400" kern="0" spc="-28" dirty="0">
                <a:solidFill>
                  <a:srgbClr val="01240E">
                    <a:alpha val="99000"/>
                  </a:srgbClr>
                </a:solidFill>
                <a:latin typeface="DM Sans"/>
                <a:ea typeface="DM Sans" pitchFamily="34" charset="-122"/>
                <a:cs typeface="DM Sans" pitchFamily="34" charset="-120"/>
                <a:sym typeface="Arial"/>
              </a:rPr>
              <a:t> tailored to your community, patient demographics and growth ambitions</a:t>
            </a:r>
          </a:p>
          <a:p>
            <a:pPr marL="228594" indent="-228594" defTabSz="1219170">
              <a:lnSpc>
                <a:spcPts val="1848"/>
              </a:lnSpc>
              <a:buClr>
                <a:srgbClr val="000000"/>
              </a:buClr>
              <a:buSzPct val="100000"/>
              <a:buFont typeface="Arial"/>
              <a:buChar char="•"/>
              <a:defRPr/>
            </a:pPr>
            <a:r>
              <a:rPr lang="en-US" sz="1400" b="1" kern="0" spc="-48" dirty="0">
                <a:solidFill>
                  <a:srgbClr val="16A34A">
                    <a:alpha val="99000"/>
                  </a:srgbClr>
                </a:solidFill>
                <a:latin typeface="DM Sans"/>
                <a:cs typeface="Arial"/>
                <a:sym typeface="Arial"/>
              </a:rPr>
              <a:t>Governance Support: </a:t>
            </a:r>
            <a:r>
              <a:rPr lang="en-GB" sz="1400" kern="0" dirty="0">
                <a:solidFill>
                  <a:srgbClr val="000000"/>
                </a:solidFill>
                <a:latin typeface="DM Sans"/>
                <a:cs typeface="Arial"/>
                <a:sym typeface="Arial"/>
              </a:rPr>
              <a:t>Virty provides structured clinical governance with doctor oversight, prescribing    responsibility, escalation of complex cases, and ongoing reviews, educing workload and removing risk for  risk for pharmacists.</a:t>
            </a:r>
          </a:p>
        </p:txBody>
      </p:sp>
      <p:sp>
        <p:nvSpPr>
          <p:cNvPr id="13" name="Text 11">
            <a:extLst>
              <a:ext uri="{FF2B5EF4-FFF2-40B4-BE49-F238E27FC236}">
                <a16:creationId xmlns:a16="http://schemas.microsoft.com/office/drawing/2014/main" id="{48BD866D-0057-B756-9B5E-51FB8125A67E}"/>
              </a:ext>
            </a:extLst>
          </p:cNvPr>
          <p:cNvSpPr/>
          <p:nvPr/>
        </p:nvSpPr>
        <p:spPr>
          <a:xfrm>
            <a:off x="320279" y="6019404"/>
            <a:ext cx="11738372" cy="609600"/>
          </a:xfrm>
          <a:prstGeom prst="rect">
            <a:avLst/>
          </a:prstGeom>
          <a:noFill/>
          <a:ln/>
        </p:spPr>
        <p:txBody>
          <a:bodyPr wrap="square" rtlCol="0" anchor="ctr"/>
          <a:lstStyle/>
          <a:p>
            <a:pPr defTabSz="1219170">
              <a:lnSpc>
                <a:spcPts val="2376"/>
              </a:lnSpc>
              <a:buClr>
                <a:srgbClr val="000000"/>
              </a:buClr>
              <a:defRPr/>
            </a:pPr>
            <a:r>
              <a:rPr lang="en-US" b="1" kern="0" spc="-36" dirty="0">
                <a:solidFill>
                  <a:srgbClr val="16A34A">
                    <a:alpha val="99000"/>
                  </a:srgbClr>
                </a:solidFill>
                <a:latin typeface="DM Sans" pitchFamily="34" charset="0"/>
                <a:ea typeface="DM Sans" pitchFamily="34" charset="-122"/>
                <a:cs typeface="DM Sans" pitchFamily="34" charset="-120"/>
                <a:sym typeface="Arial"/>
              </a:rPr>
              <a:t>Virty helps you provide wrap-around, clinically governed care that complements the trusted patient relationship.</a:t>
            </a:r>
            <a:endParaRPr lang="en-US" kern="0" dirty="0">
              <a:solidFill>
                <a:srgbClr val="000000"/>
              </a:solidFill>
              <a:latin typeface="Arial"/>
              <a:cs typeface="Arial"/>
              <a:sym typeface="Arial"/>
            </a:endParaRPr>
          </a:p>
        </p:txBody>
      </p:sp>
    </p:spTree>
    <p:extLst>
      <p:ext uri="{BB962C8B-B14F-4D97-AF65-F5344CB8AC3E}">
        <p14:creationId xmlns:p14="http://schemas.microsoft.com/office/powerpoint/2010/main" val="387867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a:extLst>
            <a:ext uri="{FF2B5EF4-FFF2-40B4-BE49-F238E27FC236}">
              <a16:creationId xmlns:a16="http://schemas.microsoft.com/office/drawing/2014/main" id="{51C37986-736C-35A7-85CF-1977D1EACD11}"/>
            </a:ext>
          </a:extLst>
        </p:cNvPr>
        <p:cNvGrpSpPr/>
        <p:nvPr/>
      </p:nvGrpSpPr>
      <p:grpSpPr>
        <a:xfrm>
          <a:off x="0" y="0"/>
          <a:ext cx="0" cy="0"/>
          <a:chOff x="0" y="0"/>
          <a:chExt cx="0" cy="0"/>
        </a:xfrm>
      </p:grpSpPr>
      <p:sp>
        <p:nvSpPr>
          <p:cNvPr id="3" name="Text 1">
            <a:extLst>
              <a:ext uri="{FF2B5EF4-FFF2-40B4-BE49-F238E27FC236}">
                <a16:creationId xmlns:a16="http://schemas.microsoft.com/office/drawing/2014/main" id="{743C7C7A-82B0-8BDD-92B1-18A5775348AD}"/>
              </a:ext>
            </a:extLst>
          </p:cNvPr>
          <p:cNvSpPr/>
          <p:nvPr/>
        </p:nvSpPr>
        <p:spPr>
          <a:xfrm>
            <a:off x="254000" y="228601"/>
            <a:ext cx="8350251" cy="368300"/>
          </a:xfrm>
          <a:prstGeom prst="rect">
            <a:avLst/>
          </a:prstGeom>
          <a:noFill/>
          <a:ln/>
        </p:spPr>
        <p:txBody>
          <a:bodyPr wrap="square" rtlCol="0" anchor="ctr"/>
          <a:lstStyle/>
          <a:p>
            <a:pPr defTabSz="1219170">
              <a:lnSpc>
                <a:spcPts val="2880"/>
              </a:lnSpc>
              <a:defRPr/>
            </a:pPr>
            <a:endParaRPr lang="en-US" sz="2400">
              <a:solidFill>
                <a:prstClr val="black"/>
              </a:solidFill>
              <a:latin typeface="Calibri" panose="020F0502020204030204"/>
            </a:endParaRPr>
          </a:p>
        </p:txBody>
      </p:sp>
      <p:sp>
        <p:nvSpPr>
          <p:cNvPr id="6" name="Shape 4">
            <a:extLst>
              <a:ext uri="{FF2B5EF4-FFF2-40B4-BE49-F238E27FC236}">
                <a16:creationId xmlns:a16="http://schemas.microsoft.com/office/drawing/2014/main" id="{52060A6F-28F6-D6DF-885E-584838C53D6E}"/>
              </a:ext>
            </a:extLst>
          </p:cNvPr>
          <p:cNvSpPr/>
          <p:nvPr/>
        </p:nvSpPr>
        <p:spPr>
          <a:xfrm>
            <a:off x="558800" y="1187451"/>
            <a:ext cx="5232400" cy="23241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7" name="Text 5">
            <a:extLst>
              <a:ext uri="{FF2B5EF4-FFF2-40B4-BE49-F238E27FC236}">
                <a16:creationId xmlns:a16="http://schemas.microsoft.com/office/drawing/2014/main" id="{103D3C5D-42E5-D0DE-B92C-41EF8585A898}"/>
              </a:ext>
            </a:extLst>
          </p:cNvPr>
          <p:cNvSpPr/>
          <p:nvPr/>
        </p:nvSpPr>
        <p:spPr>
          <a:xfrm>
            <a:off x="254025" y="233667"/>
            <a:ext cx="3193739" cy="361220"/>
          </a:xfrm>
          <a:prstGeom prst="rect">
            <a:avLst/>
          </a:prstGeom>
          <a:noFill/>
          <a:ln/>
        </p:spPr>
        <p:txBody>
          <a:bodyPr wrap="square" lIns="121920" tIns="60960" rIns="121920" bIns="60960" rtlCol="0" anchor="ctr"/>
          <a:lstStyle/>
          <a:p>
            <a:pPr defTabSz="1219170">
              <a:lnSpc>
                <a:spcPts val="2508"/>
              </a:lnSpc>
              <a:defRPr/>
            </a:pPr>
            <a:r>
              <a:rPr lang="en-US" sz="2400" b="1" kern="0" spc="-37" dirty="0" err="1">
                <a:solidFill>
                  <a:srgbClr val="01240E">
                    <a:alpha val="99000"/>
                  </a:srgbClr>
                </a:solidFill>
                <a:latin typeface="DM Sans"/>
                <a:ea typeface="DM Sans" pitchFamily="34" charset="-122"/>
                <a:cs typeface="DM Sans" pitchFamily="34" charset="-120"/>
              </a:rPr>
              <a:t>Virty</a:t>
            </a:r>
            <a:r>
              <a:rPr lang="en-US" sz="2400" b="1" kern="0" spc="-37" dirty="0">
                <a:solidFill>
                  <a:srgbClr val="01240E">
                    <a:alpha val="99000"/>
                  </a:srgbClr>
                </a:solidFill>
                <a:latin typeface="DM Sans"/>
                <a:ea typeface="DM Sans" pitchFamily="34" charset="-122"/>
                <a:cs typeface="DM Sans" pitchFamily="34" charset="-120"/>
              </a:rPr>
              <a:t> Plans launched </a:t>
            </a:r>
            <a:endParaRPr lang="en-US" sz="2400" dirty="0">
              <a:solidFill>
                <a:prstClr val="black"/>
              </a:solidFill>
              <a:latin typeface="DM Sans"/>
            </a:endParaRPr>
          </a:p>
        </p:txBody>
      </p:sp>
      <p:sp>
        <p:nvSpPr>
          <p:cNvPr id="12" name="Text 10">
            <a:extLst>
              <a:ext uri="{FF2B5EF4-FFF2-40B4-BE49-F238E27FC236}">
                <a16:creationId xmlns:a16="http://schemas.microsoft.com/office/drawing/2014/main" id="{11CA9468-1776-1144-3340-B40DEF5AB943}"/>
              </a:ext>
            </a:extLst>
          </p:cNvPr>
          <p:cNvSpPr/>
          <p:nvPr/>
        </p:nvSpPr>
        <p:spPr>
          <a:xfrm>
            <a:off x="6323409" y="5523761"/>
            <a:ext cx="5378451" cy="234951"/>
          </a:xfrm>
          <a:prstGeom prst="rect">
            <a:avLst/>
          </a:prstGeom>
          <a:noFill/>
          <a:ln/>
        </p:spPr>
        <p:txBody>
          <a:bodyPr wrap="square" lIns="121920" tIns="60960" rIns="121920" bIns="60960" rtlCol="0" anchor="ctr"/>
          <a:lstStyle/>
          <a:p>
            <a:pPr defTabSz="1219170">
              <a:lnSpc>
                <a:spcPts val="1848"/>
              </a:lnSpc>
              <a:defRPr/>
            </a:pPr>
            <a:endParaRPr lang="en-US" sz="1400">
              <a:solidFill>
                <a:srgbClr val="CF6D2B">
                  <a:alpha val="99000"/>
                </a:srgbClr>
              </a:solidFill>
              <a:latin typeface="DM Sans"/>
              <a:hlinkClick r:id="rId3" action="ppaction://hlinksldjump"/>
            </a:endParaRPr>
          </a:p>
        </p:txBody>
      </p:sp>
      <p:sp>
        <p:nvSpPr>
          <p:cNvPr id="14" name="Text 12">
            <a:extLst>
              <a:ext uri="{FF2B5EF4-FFF2-40B4-BE49-F238E27FC236}">
                <a16:creationId xmlns:a16="http://schemas.microsoft.com/office/drawing/2014/main" id="{A8C67D56-72F4-CF98-DC99-64BDF5D8BBE9}"/>
              </a:ext>
            </a:extLst>
          </p:cNvPr>
          <p:cNvSpPr/>
          <p:nvPr/>
        </p:nvSpPr>
        <p:spPr>
          <a:xfrm>
            <a:off x="796131" y="5428743"/>
            <a:ext cx="4686300" cy="234951"/>
          </a:xfrm>
          <a:prstGeom prst="rect">
            <a:avLst/>
          </a:prstGeom>
          <a:noFill/>
          <a:ln/>
        </p:spPr>
        <p:txBody>
          <a:bodyPr wrap="square" lIns="121920" tIns="60960" rIns="121920" bIns="60960" rtlCol="0" anchor="ctr"/>
          <a:lstStyle/>
          <a:p>
            <a:pPr defTabSz="1219170">
              <a:lnSpc>
                <a:spcPts val="1848"/>
              </a:lnSpc>
              <a:defRPr/>
            </a:pPr>
            <a:endParaRPr lang="en-US" sz="1400">
              <a:solidFill>
                <a:srgbClr val="ED7D31"/>
              </a:solidFill>
              <a:latin typeface="DM Sans"/>
              <a:hlinkClick r:id="" action="ppaction://noaction"/>
            </a:endParaRPr>
          </a:p>
        </p:txBody>
      </p:sp>
      <p:sp>
        <p:nvSpPr>
          <p:cNvPr id="15" name="Text 10">
            <a:hlinkClick r:id="" action="ppaction://noaction"/>
            <a:extLst>
              <a:ext uri="{FF2B5EF4-FFF2-40B4-BE49-F238E27FC236}">
                <a16:creationId xmlns:a16="http://schemas.microsoft.com/office/drawing/2014/main" id="{D8DD15B7-1EA2-1B33-6C79-3A6F824452AF}"/>
              </a:ext>
            </a:extLst>
          </p:cNvPr>
          <p:cNvSpPr/>
          <p:nvPr/>
        </p:nvSpPr>
        <p:spPr>
          <a:xfrm>
            <a:off x="6323409" y="5330537"/>
            <a:ext cx="5378451" cy="234951"/>
          </a:xfrm>
          <a:prstGeom prst="rect">
            <a:avLst/>
          </a:prstGeom>
          <a:noFill/>
          <a:ln/>
        </p:spPr>
        <p:txBody>
          <a:bodyPr wrap="square" lIns="121920" tIns="60960" rIns="121920" bIns="60960" rtlCol="0" anchor="ctr"/>
          <a:lstStyle/>
          <a:p>
            <a:pPr defTabSz="1219170">
              <a:lnSpc>
                <a:spcPts val="1848"/>
              </a:lnSpc>
              <a:defRPr/>
            </a:pPr>
            <a:endParaRPr lang="en-US" sz="1400" u="sng">
              <a:solidFill>
                <a:srgbClr val="CE6C2B"/>
              </a:solidFill>
              <a:latin typeface="DM Sans"/>
            </a:endParaRPr>
          </a:p>
        </p:txBody>
      </p:sp>
      <p:sp>
        <p:nvSpPr>
          <p:cNvPr id="23" name="Shape 3">
            <a:extLst>
              <a:ext uri="{FF2B5EF4-FFF2-40B4-BE49-F238E27FC236}">
                <a16:creationId xmlns:a16="http://schemas.microsoft.com/office/drawing/2014/main" id="{3D0661D7-083F-3ABF-E506-2A5A801418C8}"/>
              </a:ext>
            </a:extLst>
          </p:cNvPr>
          <p:cNvSpPr/>
          <p:nvPr/>
        </p:nvSpPr>
        <p:spPr>
          <a:xfrm>
            <a:off x="248895" y="975743"/>
            <a:ext cx="5603019" cy="5571315"/>
          </a:xfrm>
          <a:prstGeom prst="roundRect">
            <a:avLst>
              <a:gd name="adj" fmla="val 7579"/>
            </a:avLst>
          </a:prstGeom>
          <a:solidFill>
            <a:srgbClr val="14532D"/>
          </a:solidFill>
          <a:ln>
            <a:solidFill>
              <a:schemeClr val="bg2"/>
            </a:solidFill>
          </a:ln>
        </p:spPr>
        <p:txBody>
          <a:bodyPr lIns="121920" tIns="60960" rIns="121920" bIns="60960" anchor="t"/>
          <a:lstStyle/>
          <a:p>
            <a:pPr defTabSz="1219170">
              <a:defRPr/>
            </a:pPr>
            <a:endParaRPr lang="en-GB" sz="1400" dirty="0">
              <a:solidFill>
                <a:prstClr val="black"/>
              </a:solidFill>
              <a:latin typeface="DM Sans"/>
            </a:endParaRPr>
          </a:p>
          <a:p>
            <a:pPr defTabSz="1219170">
              <a:defRPr/>
            </a:pPr>
            <a:endParaRPr lang="en-GB" sz="1400" dirty="0">
              <a:solidFill>
                <a:prstClr val="white"/>
              </a:solidFill>
              <a:latin typeface="DM Sans"/>
            </a:endParaRPr>
          </a:p>
          <a:p>
            <a:pPr defTabSz="1219170">
              <a:defRPr/>
            </a:pPr>
            <a:endParaRPr lang="en-GB" sz="1467" dirty="0">
              <a:solidFill>
                <a:prstClr val="white"/>
              </a:solidFill>
              <a:latin typeface="DM Sans"/>
              <a:ea typeface="Calibri"/>
              <a:cs typeface="Calibri"/>
            </a:endParaRPr>
          </a:p>
          <a:p>
            <a:pPr defTabSz="1219170">
              <a:defRPr/>
            </a:pPr>
            <a:endParaRPr lang="en-GB" sz="1467" dirty="0">
              <a:solidFill>
                <a:prstClr val="white"/>
              </a:solidFill>
              <a:latin typeface="DM Sans"/>
              <a:ea typeface="Calibri"/>
              <a:cs typeface="Calibri"/>
            </a:endParaRPr>
          </a:p>
          <a:p>
            <a:pPr defTabSz="1219170">
              <a:defRPr/>
            </a:pPr>
            <a:r>
              <a:rPr lang="en-GB" sz="1467" dirty="0">
                <a:solidFill>
                  <a:prstClr val="white"/>
                </a:solidFill>
                <a:latin typeface="DM Sans"/>
                <a:ea typeface="Calibri"/>
                <a:cs typeface="Calibri"/>
              </a:rPr>
              <a:t>A digital subscription where doctors monitor a patient’s wearable health data (e.g. heart rate, blood pressure) 24/7.</a:t>
            </a:r>
            <a:br>
              <a:rPr lang="en-GB" sz="1467" dirty="0">
                <a:solidFill>
                  <a:prstClr val="white"/>
                </a:solidFill>
                <a:latin typeface="DM Sans"/>
              </a:rPr>
            </a:br>
            <a:endParaRPr lang="en-GB" sz="1467" dirty="0">
              <a:solidFill>
                <a:prstClr val="white"/>
              </a:solidFill>
              <a:latin typeface="DM Sans"/>
              <a:ea typeface="Calibri"/>
              <a:cs typeface="Calibri"/>
            </a:endParaRPr>
          </a:p>
          <a:p>
            <a:pPr defTabSz="1219170">
              <a:defRPr/>
            </a:pPr>
            <a:r>
              <a:rPr lang="en-GB" sz="1467" dirty="0">
                <a:solidFill>
                  <a:prstClr val="white"/>
                </a:solidFill>
                <a:latin typeface="DM Sans"/>
                <a:ea typeface="Calibri"/>
                <a:cs typeface="Calibri"/>
              </a:rPr>
              <a:t>If anything, unusual is detected, a clinician reviews it and contacts the patient directly.</a:t>
            </a:r>
          </a:p>
          <a:p>
            <a:pPr defTabSz="1219170">
              <a:defRPr/>
            </a:pPr>
            <a:endParaRPr lang="en-GB" sz="1467" dirty="0">
              <a:solidFill>
                <a:prstClr val="white"/>
              </a:solidFill>
              <a:latin typeface="DM Sans"/>
              <a:ea typeface="Calibri"/>
              <a:cs typeface="Calibri"/>
            </a:endParaRPr>
          </a:p>
          <a:p>
            <a:pPr defTabSz="1219170">
              <a:defRPr/>
            </a:pPr>
            <a:r>
              <a:rPr lang="en-GB" sz="1467" dirty="0">
                <a:solidFill>
                  <a:prstClr val="white"/>
                </a:solidFill>
                <a:latin typeface="DM Sans"/>
                <a:ea typeface="Calibri"/>
                <a:cs typeface="Calibri"/>
              </a:rPr>
              <a:t>Ongoing medical monitoring and reassurance between GP appointments.</a:t>
            </a:r>
          </a:p>
        </p:txBody>
      </p:sp>
      <p:sp>
        <p:nvSpPr>
          <p:cNvPr id="24" name="Shape 3">
            <a:extLst>
              <a:ext uri="{FF2B5EF4-FFF2-40B4-BE49-F238E27FC236}">
                <a16:creationId xmlns:a16="http://schemas.microsoft.com/office/drawing/2014/main" id="{47AFB122-E8AD-38C2-AB4E-4EA226E3FCF4}"/>
              </a:ext>
            </a:extLst>
          </p:cNvPr>
          <p:cNvSpPr/>
          <p:nvPr/>
        </p:nvSpPr>
        <p:spPr>
          <a:xfrm>
            <a:off x="6076795" y="936389"/>
            <a:ext cx="5902821" cy="5571315"/>
          </a:xfrm>
          <a:prstGeom prst="roundRect">
            <a:avLst>
              <a:gd name="adj" fmla="val 7579"/>
            </a:avLst>
          </a:prstGeom>
          <a:solidFill>
            <a:srgbClr val="14532D"/>
          </a:solidFill>
          <a:ln>
            <a:solidFill>
              <a:schemeClr val="bg2"/>
            </a:solidFill>
          </a:ln>
        </p:spPr>
        <p:txBody>
          <a:bodyPr lIns="121920" tIns="60960" rIns="121920" bIns="60960" anchor="t"/>
          <a:lstStyle/>
          <a:p>
            <a:pPr defTabSz="1219170">
              <a:defRPr/>
            </a:pPr>
            <a:endParaRPr lang="en-US" sz="2400" b="1" dirty="0">
              <a:solidFill>
                <a:prstClr val="white"/>
              </a:solidFill>
              <a:latin typeface="DM Sans"/>
              <a:ea typeface="Calibri"/>
              <a:cs typeface="Calibri"/>
            </a:endParaRPr>
          </a:p>
          <a:p>
            <a:pPr defTabSz="1219170">
              <a:defRPr/>
            </a:pPr>
            <a:endParaRPr lang="en-GB" sz="1467" dirty="0">
              <a:solidFill>
                <a:prstClr val="white"/>
              </a:solidFill>
              <a:latin typeface="DM Sans"/>
            </a:endParaRPr>
          </a:p>
          <a:p>
            <a:pPr defTabSz="1219170">
              <a:defRPr/>
            </a:pPr>
            <a:endParaRPr lang="en-GB" sz="1467" dirty="0">
              <a:solidFill>
                <a:prstClr val="white"/>
              </a:solidFill>
              <a:latin typeface="DM Sans"/>
              <a:ea typeface="Calibri"/>
              <a:cs typeface="Calibri"/>
            </a:endParaRPr>
          </a:p>
          <a:p>
            <a:pPr defTabSz="1219170">
              <a:defRPr/>
            </a:pPr>
            <a:endParaRPr lang="en-GB" sz="1467" dirty="0">
              <a:solidFill>
                <a:prstClr val="white"/>
              </a:solidFill>
              <a:latin typeface="DM Sans"/>
              <a:ea typeface="Calibri"/>
              <a:cs typeface="Calibri"/>
            </a:endParaRPr>
          </a:p>
          <a:p>
            <a:pPr defTabSz="1219170">
              <a:defRPr/>
            </a:pPr>
            <a:endParaRPr lang="en-GB" sz="1467" dirty="0">
              <a:solidFill>
                <a:prstClr val="white"/>
              </a:solidFill>
              <a:latin typeface="DM Sans"/>
              <a:ea typeface="Calibri"/>
              <a:cs typeface="Calibri"/>
            </a:endParaRPr>
          </a:p>
        </p:txBody>
      </p:sp>
      <p:sp>
        <p:nvSpPr>
          <p:cNvPr id="8" name="TextBox 7">
            <a:extLst>
              <a:ext uri="{FF2B5EF4-FFF2-40B4-BE49-F238E27FC236}">
                <a16:creationId xmlns:a16="http://schemas.microsoft.com/office/drawing/2014/main" id="{BAEC2629-5F49-7C64-A037-0F4D3D94B67D}"/>
              </a:ext>
            </a:extLst>
          </p:cNvPr>
          <p:cNvSpPr txBox="1"/>
          <p:nvPr/>
        </p:nvSpPr>
        <p:spPr>
          <a:xfrm>
            <a:off x="417243" y="1080879"/>
            <a:ext cx="3657599" cy="738664"/>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1219170">
              <a:defRPr/>
            </a:pPr>
            <a:r>
              <a:rPr lang="en-GB" sz="2400" b="1" dirty="0">
                <a:solidFill>
                  <a:prstClr val="white"/>
                </a:solidFill>
                <a:latin typeface="DM Sans"/>
                <a:ea typeface="Calibri"/>
                <a:cs typeface="Calibri"/>
              </a:rPr>
              <a:t>Health Protect</a:t>
            </a:r>
          </a:p>
          <a:p>
            <a:pPr defTabSz="1219170">
              <a:defRPr/>
            </a:pPr>
            <a:r>
              <a:rPr lang="en-GB" sz="1600" b="1" dirty="0">
                <a:solidFill>
                  <a:prstClr val="white"/>
                </a:solidFill>
                <a:latin typeface="DM Sans"/>
                <a:ea typeface="Calibri"/>
                <a:cs typeface="Calibri"/>
              </a:rPr>
              <a:t>£45/month</a:t>
            </a:r>
            <a:endParaRPr lang="en-GB" sz="1600" b="1" dirty="0">
              <a:solidFill>
                <a:prstClr val="white"/>
              </a:solidFill>
              <a:latin typeface="DM Sans"/>
            </a:endParaRPr>
          </a:p>
        </p:txBody>
      </p:sp>
      <p:pic>
        <p:nvPicPr>
          <p:cNvPr id="20" name="Picture 19">
            <a:extLst>
              <a:ext uri="{FF2B5EF4-FFF2-40B4-BE49-F238E27FC236}">
                <a16:creationId xmlns:a16="http://schemas.microsoft.com/office/drawing/2014/main" id="{5FFF63B5-BC8D-A34F-3155-7BF2B90FA900}"/>
              </a:ext>
            </a:extLst>
          </p:cNvPr>
          <p:cNvPicPr>
            <a:picLocks noChangeAspect="1"/>
          </p:cNvPicPr>
          <p:nvPr/>
        </p:nvPicPr>
        <p:blipFill>
          <a:blip r:embed="rId4"/>
          <a:srcRect t="4072" r="3318" b="5509"/>
          <a:stretch>
            <a:fillRect/>
          </a:stretch>
        </p:blipFill>
        <p:spPr>
          <a:xfrm>
            <a:off x="1428545" y="3654201"/>
            <a:ext cx="3000059" cy="2856492"/>
          </a:xfrm>
          <a:prstGeom prst="rect">
            <a:avLst/>
          </a:prstGeom>
        </p:spPr>
      </p:pic>
      <p:sp>
        <p:nvSpPr>
          <p:cNvPr id="9" name="TextBox 8">
            <a:extLst>
              <a:ext uri="{FF2B5EF4-FFF2-40B4-BE49-F238E27FC236}">
                <a16:creationId xmlns:a16="http://schemas.microsoft.com/office/drawing/2014/main" id="{643BCAFC-4FCC-27C5-45E0-F1277B4DEEEB}"/>
              </a:ext>
            </a:extLst>
          </p:cNvPr>
          <p:cNvSpPr txBox="1"/>
          <p:nvPr/>
        </p:nvSpPr>
        <p:spPr>
          <a:xfrm>
            <a:off x="6277130" y="1186721"/>
            <a:ext cx="3864396" cy="135421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1219170">
              <a:defRPr/>
            </a:pPr>
            <a:r>
              <a:rPr lang="en-US" sz="2400" b="1" dirty="0">
                <a:solidFill>
                  <a:srgbClr val="FFFFFF"/>
                </a:solidFill>
                <a:latin typeface="DM Sans"/>
              </a:rPr>
              <a:t>Weight Journey</a:t>
            </a:r>
          </a:p>
          <a:p>
            <a:pPr defTabSz="1219170">
              <a:defRPr/>
            </a:pPr>
            <a:r>
              <a:rPr lang="en-US" sz="1600" b="1" dirty="0">
                <a:solidFill>
                  <a:srgbClr val="FFFFFF"/>
                </a:solidFill>
                <a:latin typeface="DM Sans"/>
              </a:rPr>
              <a:t>Express £8/month</a:t>
            </a:r>
          </a:p>
          <a:p>
            <a:pPr defTabSz="1219170">
              <a:defRPr/>
            </a:pPr>
            <a:r>
              <a:rPr lang="en-US" sz="1600" b="1" dirty="0">
                <a:solidFill>
                  <a:srgbClr val="FFFFFF"/>
                </a:solidFill>
                <a:latin typeface="DM Sans"/>
              </a:rPr>
              <a:t>Premium £38/month</a:t>
            </a:r>
            <a:endParaRPr lang="en-GB" sz="1600" dirty="0">
              <a:solidFill>
                <a:prstClr val="black"/>
              </a:solidFill>
              <a:latin typeface="Calibri" panose="020F0502020204030204"/>
            </a:endParaRPr>
          </a:p>
          <a:p>
            <a:pPr algn="ctr" defTabSz="1219170">
              <a:defRPr/>
            </a:pPr>
            <a:endParaRPr lang="en-GB" sz="2400" dirty="0">
              <a:solidFill>
                <a:prstClr val="black"/>
              </a:solidFill>
              <a:latin typeface="Calibri" panose="020F0502020204030204"/>
            </a:endParaRPr>
          </a:p>
        </p:txBody>
      </p:sp>
      <p:pic>
        <p:nvPicPr>
          <p:cNvPr id="13" name="Picture 12" descr="A hand holding a cell phone&#10;&#10;AI-generated content may be incorrect.">
            <a:extLst>
              <a:ext uri="{FF2B5EF4-FFF2-40B4-BE49-F238E27FC236}">
                <a16:creationId xmlns:a16="http://schemas.microsoft.com/office/drawing/2014/main" id="{01E48008-54ED-0473-16D1-A77D13EDBCC5}"/>
              </a:ext>
            </a:extLst>
          </p:cNvPr>
          <p:cNvPicPr>
            <a:picLocks noChangeAspect="1"/>
          </p:cNvPicPr>
          <p:nvPr/>
        </p:nvPicPr>
        <p:blipFill>
          <a:blip r:embed="rId5"/>
          <a:srcRect l="5893" t="277" r="46776" b="-123"/>
          <a:stretch>
            <a:fillRect/>
          </a:stretch>
        </p:blipFill>
        <p:spPr>
          <a:xfrm>
            <a:off x="9620684" y="1489542"/>
            <a:ext cx="2350541" cy="4759449"/>
          </a:xfrm>
          <a:prstGeom prst="rect">
            <a:avLst/>
          </a:prstGeom>
        </p:spPr>
      </p:pic>
      <p:sp>
        <p:nvSpPr>
          <p:cNvPr id="17" name="TextBox 16">
            <a:extLst>
              <a:ext uri="{FF2B5EF4-FFF2-40B4-BE49-F238E27FC236}">
                <a16:creationId xmlns:a16="http://schemas.microsoft.com/office/drawing/2014/main" id="{48997F75-04A9-4887-9472-838EB5F65C2A}"/>
              </a:ext>
            </a:extLst>
          </p:cNvPr>
          <p:cNvSpPr txBox="1"/>
          <p:nvPr/>
        </p:nvSpPr>
        <p:spPr>
          <a:xfrm>
            <a:off x="6303989" y="1907980"/>
            <a:ext cx="3140711" cy="387894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1219170">
              <a:defRPr/>
            </a:pPr>
            <a:r>
              <a:rPr lang="en-GB" sz="1467" dirty="0">
                <a:solidFill>
                  <a:srgbClr val="000000"/>
                </a:solidFill>
                <a:latin typeface="DM Sans"/>
                <a:ea typeface="Segoe UI"/>
                <a:cs typeface="Segoe UI"/>
              </a:rPr>
              <a:t>​</a:t>
            </a:r>
          </a:p>
          <a:p>
            <a:pPr defTabSz="1219170">
              <a:defRPr/>
            </a:pPr>
            <a:r>
              <a:rPr lang="en-GB" sz="1467" dirty="0">
                <a:solidFill>
                  <a:srgbClr val="FFFFFF"/>
                </a:solidFill>
                <a:latin typeface="DM Sans"/>
                <a:ea typeface="Segoe UI"/>
                <a:cs typeface="Segoe UI"/>
              </a:rPr>
              <a:t>A 12-month subscription plan</a:t>
            </a:r>
            <a:r>
              <a:rPr lang="en-US" sz="1467" dirty="0">
                <a:solidFill>
                  <a:srgbClr val="000000"/>
                </a:solidFill>
                <a:latin typeface="DM Sans"/>
                <a:ea typeface="Segoe UI"/>
                <a:cs typeface="Segoe UI"/>
              </a:rPr>
              <a:t>​</a:t>
            </a:r>
          </a:p>
          <a:p>
            <a:pPr defTabSz="1219170">
              <a:defRPr/>
            </a:pPr>
            <a:r>
              <a:rPr lang="en-GB" sz="1467" dirty="0">
                <a:solidFill>
                  <a:srgbClr val="FFFFFF"/>
                </a:solidFill>
                <a:latin typeface="DM Sans"/>
                <a:ea typeface="Segoe UI"/>
                <a:cs typeface="Segoe UI"/>
              </a:rPr>
              <a:t>Initial medical assessment, prescription and management plan.</a:t>
            </a:r>
            <a:r>
              <a:rPr lang="en-US" sz="1467" dirty="0">
                <a:solidFill>
                  <a:srgbClr val="000000"/>
                </a:solidFill>
                <a:latin typeface="DM Sans"/>
                <a:ea typeface="Segoe UI"/>
                <a:cs typeface="Segoe UI"/>
              </a:rPr>
              <a:t>​</a:t>
            </a:r>
          </a:p>
          <a:p>
            <a:pPr defTabSz="1219170">
              <a:defRPr/>
            </a:pPr>
            <a:r>
              <a:rPr lang="en-GB" sz="1467" dirty="0">
                <a:solidFill>
                  <a:srgbClr val="000000"/>
                </a:solidFill>
                <a:latin typeface="DM Sans"/>
                <a:ea typeface="Segoe UI"/>
                <a:cs typeface="Segoe UI"/>
              </a:rPr>
              <a:t>​</a:t>
            </a:r>
            <a:br>
              <a:rPr lang="en-GB" sz="1467" dirty="0">
                <a:solidFill>
                  <a:prstClr val="black"/>
                </a:solidFill>
                <a:latin typeface="DM Sans"/>
                <a:ea typeface="Segoe UI"/>
                <a:cs typeface="Segoe UI"/>
              </a:rPr>
            </a:br>
            <a:r>
              <a:rPr lang="en-GB" sz="1467" dirty="0">
                <a:solidFill>
                  <a:srgbClr val="FFFFFF"/>
                </a:solidFill>
                <a:latin typeface="DM Sans"/>
                <a:ea typeface="Segoe UI"/>
                <a:cs typeface="Segoe UI"/>
              </a:rPr>
              <a:t>Local pharmacy plans include three in-person reviews per year. Doctor peer-review of pharmacist clinical reviews including change in agent or dose.</a:t>
            </a:r>
          </a:p>
          <a:p>
            <a:pPr defTabSz="1219170">
              <a:defRPr/>
            </a:pPr>
            <a:endParaRPr lang="en-GB" sz="1467" dirty="0">
              <a:solidFill>
                <a:srgbClr val="FFFFFF"/>
              </a:solidFill>
              <a:latin typeface="DM Sans"/>
              <a:cs typeface="Segoe UI"/>
            </a:endParaRPr>
          </a:p>
          <a:p>
            <a:pPr defTabSz="1219170">
              <a:defRPr/>
            </a:pPr>
            <a:r>
              <a:rPr lang="en-GB" sz="1467" dirty="0">
                <a:solidFill>
                  <a:srgbClr val="FFFFFF"/>
                </a:solidFill>
                <a:latin typeface="DM Sans"/>
                <a:ea typeface="Calibri" panose="020F0502020204030204"/>
                <a:cs typeface="Segoe UI"/>
              </a:rPr>
              <a:t>Lifestyle change support with Premium</a:t>
            </a:r>
            <a:endParaRPr lang="en-GB" sz="2400" dirty="0">
              <a:solidFill>
                <a:prstClr val="black"/>
              </a:solidFill>
              <a:latin typeface="Calibri" panose="020F0502020204030204"/>
            </a:endParaRPr>
          </a:p>
          <a:p>
            <a:pPr algn="ctr" defTabSz="1219170">
              <a:defRPr/>
            </a:pPr>
            <a:endParaRPr lang="en-GB" sz="2400" dirty="0">
              <a:solidFill>
                <a:prstClr val="black"/>
              </a:solidFill>
              <a:latin typeface="Calibri" panose="020F0502020204030204"/>
              <a:ea typeface="Calibri" panose="020F0502020204030204"/>
              <a:cs typeface="Calibri" panose="020F0502020204030204"/>
            </a:endParaRPr>
          </a:p>
        </p:txBody>
      </p:sp>
    </p:spTree>
    <p:extLst>
      <p:ext uri="{BB962C8B-B14F-4D97-AF65-F5344CB8AC3E}">
        <p14:creationId xmlns:p14="http://schemas.microsoft.com/office/powerpoint/2010/main" val="2015841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15"/>
          <p:cNvSpPr/>
          <p:nvPr/>
        </p:nvSpPr>
        <p:spPr>
          <a:xfrm>
            <a:off x="254000" y="362677"/>
            <a:ext cx="9721851" cy="368300"/>
          </a:xfrm>
          <a:prstGeom prst="rect">
            <a:avLst/>
          </a:prstGeom>
          <a:noFill/>
          <a:ln>
            <a:noFill/>
          </a:ln>
        </p:spPr>
        <p:txBody>
          <a:bodyPr spcFirstLastPara="1" wrap="square" lIns="121900" tIns="60933" rIns="121900" bIns="60933" anchor="ctr" anchorCtr="0">
            <a:noAutofit/>
          </a:bodyPr>
          <a:lstStyle/>
          <a:p>
            <a:pPr defTabSz="1219170">
              <a:lnSpc>
                <a:spcPct val="120000"/>
              </a:lnSpc>
              <a:buClr>
                <a:srgbClr val="01240E"/>
              </a:buClr>
              <a:buSzPts val="1800"/>
              <a:defRPr/>
            </a:pPr>
            <a:r>
              <a:rPr lang="en-GB" sz="2400" b="1" kern="0" dirty="0">
                <a:solidFill>
                  <a:srgbClr val="01240E"/>
                </a:solidFill>
                <a:latin typeface="DM Sans"/>
                <a:ea typeface="DM Sans"/>
                <a:cs typeface="DM Sans"/>
                <a:sym typeface="DM Sans"/>
              </a:rPr>
              <a:t>Virty: The Commercial Model for Pharmacies</a:t>
            </a:r>
            <a:endParaRPr sz="2400" kern="0" dirty="0">
              <a:solidFill>
                <a:srgbClr val="000000"/>
              </a:solidFill>
              <a:latin typeface="Calibri"/>
              <a:ea typeface="Calibri"/>
              <a:cs typeface="Calibri"/>
              <a:sym typeface="Calibri"/>
            </a:endParaRPr>
          </a:p>
        </p:txBody>
      </p:sp>
      <p:sp>
        <p:nvSpPr>
          <p:cNvPr id="234" name="Google Shape;234;p15"/>
          <p:cNvSpPr/>
          <p:nvPr/>
        </p:nvSpPr>
        <p:spPr>
          <a:xfrm>
            <a:off x="254000" y="1263650"/>
            <a:ext cx="7823200" cy="4527551"/>
          </a:xfrm>
          <a:prstGeom prst="rect">
            <a:avLst/>
          </a:prstGeom>
          <a:noFill/>
          <a:ln>
            <a:noFill/>
          </a:ln>
        </p:spPr>
        <p:txBody>
          <a:bodyPr spcFirstLastPara="1" wrap="square" lIns="121900" tIns="60933" rIns="121900" bIns="60933" anchor="t" anchorCtr="0">
            <a:noAutofit/>
          </a:bodyPr>
          <a:lstStyle/>
          <a:p>
            <a:pPr defTabSz="1219170">
              <a:buClr>
                <a:srgbClr val="000000"/>
              </a:buClr>
              <a:buSzPts val="1800"/>
              <a:defRPr/>
            </a:pPr>
            <a:endParaRPr sz="2400" kern="0">
              <a:solidFill>
                <a:srgbClr val="000000"/>
              </a:solidFill>
              <a:latin typeface="Calibri"/>
              <a:ea typeface="Calibri"/>
              <a:cs typeface="Calibri"/>
              <a:sym typeface="Calibri"/>
            </a:endParaRPr>
          </a:p>
        </p:txBody>
      </p:sp>
      <p:sp>
        <p:nvSpPr>
          <p:cNvPr id="235" name="Google Shape;235;p15"/>
          <p:cNvSpPr/>
          <p:nvPr/>
        </p:nvSpPr>
        <p:spPr>
          <a:xfrm>
            <a:off x="457201" y="2051051"/>
            <a:ext cx="3257551" cy="3213100"/>
          </a:xfrm>
          <a:prstGeom prst="rect">
            <a:avLst/>
          </a:prstGeom>
          <a:noFill/>
          <a:ln>
            <a:noFill/>
          </a:ln>
        </p:spPr>
        <p:txBody>
          <a:bodyPr spcFirstLastPara="1" wrap="square" lIns="121900" tIns="60933" rIns="121900" bIns="60933" anchor="t" anchorCtr="0">
            <a:noAutofit/>
          </a:bodyPr>
          <a:lstStyle/>
          <a:p>
            <a:pPr defTabSz="1219170">
              <a:buClr>
                <a:srgbClr val="000000"/>
              </a:buClr>
              <a:buSzPts val="1800"/>
              <a:defRPr/>
            </a:pPr>
            <a:endParaRPr sz="2400" kern="0">
              <a:solidFill>
                <a:srgbClr val="000000"/>
              </a:solidFill>
              <a:latin typeface="Calibri"/>
              <a:ea typeface="Calibri"/>
              <a:cs typeface="Calibri"/>
              <a:sym typeface="Calibri"/>
            </a:endParaRPr>
          </a:p>
        </p:txBody>
      </p:sp>
      <p:sp>
        <p:nvSpPr>
          <p:cNvPr id="236" name="Google Shape;236;p15"/>
          <p:cNvSpPr/>
          <p:nvPr/>
        </p:nvSpPr>
        <p:spPr>
          <a:xfrm>
            <a:off x="4375151" y="2051051"/>
            <a:ext cx="3498851" cy="292100"/>
          </a:xfrm>
          <a:prstGeom prst="rect">
            <a:avLst/>
          </a:prstGeom>
          <a:noFill/>
          <a:ln>
            <a:noFill/>
          </a:ln>
        </p:spPr>
        <p:txBody>
          <a:bodyPr spcFirstLastPara="1" wrap="square" lIns="121900" tIns="60933" rIns="121900" bIns="60933" anchor="t" anchorCtr="0">
            <a:noAutofit/>
          </a:bodyPr>
          <a:lstStyle/>
          <a:p>
            <a:pPr defTabSz="1219170">
              <a:buClr>
                <a:srgbClr val="000000"/>
              </a:buClr>
              <a:buSzPts val="1800"/>
              <a:defRPr/>
            </a:pPr>
            <a:endParaRPr sz="2400" kern="0">
              <a:solidFill>
                <a:srgbClr val="000000"/>
              </a:solidFill>
              <a:latin typeface="Calibri"/>
              <a:ea typeface="Calibri"/>
              <a:cs typeface="Calibri"/>
              <a:sym typeface="Calibri"/>
            </a:endParaRPr>
          </a:p>
        </p:txBody>
      </p:sp>
      <p:sp>
        <p:nvSpPr>
          <p:cNvPr id="237" name="Google Shape;237;p15"/>
          <p:cNvSpPr/>
          <p:nvPr/>
        </p:nvSpPr>
        <p:spPr>
          <a:xfrm>
            <a:off x="724393" y="3909393"/>
            <a:ext cx="3235779" cy="2000352"/>
          </a:xfrm>
          <a:prstGeom prst="rect">
            <a:avLst/>
          </a:prstGeom>
          <a:noFill/>
          <a:ln>
            <a:noFill/>
          </a:ln>
        </p:spPr>
        <p:txBody>
          <a:bodyPr spcFirstLastPara="1" wrap="square" lIns="121900" tIns="60933" rIns="121900" bIns="60933" anchor="ctr" anchorCtr="0">
            <a:noAutofit/>
          </a:bodyPr>
          <a:lstStyle/>
          <a:p>
            <a:pPr defTabSz="1219170">
              <a:lnSpc>
                <a:spcPct val="132000"/>
              </a:lnSpc>
              <a:buClr>
                <a:srgbClr val="000000"/>
              </a:buClr>
              <a:buSzPts val="1050"/>
              <a:defRPr/>
            </a:pPr>
            <a:endParaRPr sz="1400" kern="0">
              <a:solidFill>
                <a:srgbClr val="000000"/>
              </a:solidFill>
              <a:latin typeface="DM Sans"/>
              <a:ea typeface="DM Sans"/>
              <a:cs typeface="DM Sans"/>
              <a:sym typeface="DM Sans"/>
            </a:endParaRPr>
          </a:p>
        </p:txBody>
      </p:sp>
      <p:sp>
        <p:nvSpPr>
          <p:cNvPr id="238" name="Google Shape;238;p15"/>
          <p:cNvSpPr/>
          <p:nvPr/>
        </p:nvSpPr>
        <p:spPr>
          <a:xfrm>
            <a:off x="350044" y="1015084"/>
            <a:ext cx="3634275" cy="5333739"/>
          </a:xfrm>
          <a:prstGeom prst="roundRect">
            <a:avLst>
              <a:gd name="adj" fmla="val 7986"/>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buSzPts val="1100"/>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b="1" kern="0">
              <a:solidFill>
                <a:srgbClr val="16A34A"/>
              </a:solidFill>
              <a:latin typeface="DM Sans"/>
              <a:ea typeface="DM Sans"/>
              <a:cs typeface="DM Sans"/>
              <a:sym typeface="DM Sans"/>
            </a:endParaRPr>
          </a:p>
          <a:p>
            <a:pPr defTabSz="1219170">
              <a:buClr>
                <a:srgbClr val="000000"/>
              </a:buClr>
              <a:defRPr/>
            </a:pPr>
            <a:r>
              <a:rPr lang="en-GB" sz="1467" b="1" kern="0">
                <a:solidFill>
                  <a:srgbClr val="16A34A"/>
                </a:solidFill>
                <a:latin typeface="DM Sans"/>
                <a:ea typeface="DM Sans"/>
                <a:cs typeface="DM Sans"/>
                <a:sym typeface="DM Sans"/>
              </a:rPr>
              <a:t>Pharmacy Role</a:t>
            </a:r>
            <a:endParaRPr sz="1467" kern="0">
              <a:solidFill>
                <a:srgbClr val="000000"/>
              </a:solidFill>
              <a:latin typeface="DM Sans"/>
              <a:ea typeface="DM Sans"/>
              <a:cs typeface="DM Sans"/>
              <a:sym typeface="DM Sans"/>
            </a:endParaRPr>
          </a:p>
          <a:p>
            <a:pPr defTabSz="1219170">
              <a:buClr>
                <a:srgbClr val="000000"/>
              </a:buClr>
              <a:defRPr/>
            </a:pPr>
            <a:r>
              <a:rPr lang="en-GB" sz="1467" kern="0">
                <a:solidFill>
                  <a:srgbClr val="000000"/>
                </a:solidFill>
                <a:latin typeface="DM Sans"/>
                <a:ea typeface="DM Sans"/>
                <a:cs typeface="DM Sans"/>
                <a:sym typeface="DM Sans"/>
              </a:rPr>
              <a:t>Identifying patients who may benefit</a:t>
            </a:r>
            <a:endParaRPr sz="2400" kern="0">
              <a:solidFill>
                <a:srgbClr val="000000"/>
              </a:solidFill>
              <a:latin typeface="Calibri"/>
              <a:ea typeface="Calibri"/>
              <a:cs typeface="Calibri"/>
              <a:sym typeface="Calibri"/>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p:txBody>
      </p:sp>
      <p:pic>
        <p:nvPicPr>
          <p:cNvPr id="239" name="Google Shape;239;p15" descr="preencoded.png"/>
          <p:cNvPicPr preferRelativeResize="0"/>
          <p:nvPr/>
        </p:nvPicPr>
        <p:blipFill rotWithShape="1">
          <a:blip r:embed="rId3">
            <a:alphaModFix/>
          </a:blip>
          <a:srcRect/>
          <a:stretch/>
        </p:blipFill>
        <p:spPr>
          <a:xfrm>
            <a:off x="4511675" y="3129756"/>
            <a:ext cx="127000" cy="279400"/>
          </a:xfrm>
          <a:prstGeom prst="rect">
            <a:avLst/>
          </a:prstGeom>
          <a:noFill/>
          <a:ln>
            <a:noFill/>
          </a:ln>
        </p:spPr>
      </p:pic>
      <p:sp>
        <p:nvSpPr>
          <p:cNvPr id="240" name="Google Shape;240;p15"/>
          <p:cNvSpPr txBox="1"/>
          <p:nvPr/>
        </p:nvSpPr>
        <p:spPr>
          <a:xfrm>
            <a:off x="464525" y="1163780"/>
            <a:ext cx="3234452" cy="1107941"/>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3200" kern="0">
                <a:solidFill>
                  <a:srgbClr val="16A34A"/>
                </a:solidFill>
                <a:latin typeface="DM Sans"/>
                <a:ea typeface="DM Sans"/>
                <a:cs typeface="DM Sans"/>
                <a:sym typeface="DM Sans"/>
              </a:rPr>
              <a:t>Health Protection</a:t>
            </a:r>
            <a:endParaRPr sz="3200" kern="0">
              <a:solidFill>
                <a:srgbClr val="16A34A"/>
              </a:solidFill>
              <a:latin typeface="DM Sans"/>
              <a:ea typeface="DM Sans"/>
              <a:cs typeface="DM Sans"/>
              <a:sym typeface="DM Sans"/>
            </a:endParaRPr>
          </a:p>
        </p:txBody>
      </p:sp>
      <p:sp>
        <p:nvSpPr>
          <p:cNvPr id="241" name="Google Shape;241;p15"/>
          <p:cNvSpPr txBox="1"/>
          <p:nvPr/>
        </p:nvSpPr>
        <p:spPr>
          <a:xfrm>
            <a:off x="464344" y="2274096"/>
            <a:ext cx="3059907" cy="697701"/>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867" i="1" kern="0">
                <a:solidFill>
                  <a:srgbClr val="01240E"/>
                </a:solidFill>
                <a:latin typeface="DM Sans"/>
                <a:ea typeface="DM Sans"/>
                <a:cs typeface="DM Sans"/>
                <a:sym typeface="DM Sans"/>
              </a:rPr>
              <a:t>Proactive doctor led health monitoring</a:t>
            </a:r>
            <a:endParaRPr sz="2400" i="1" kern="0">
              <a:solidFill>
                <a:srgbClr val="01240E"/>
              </a:solidFill>
              <a:latin typeface="Calibri"/>
              <a:ea typeface="Calibri"/>
              <a:cs typeface="Calibri"/>
              <a:sym typeface="Calibri"/>
            </a:endParaRPr>
          </a:p>
        </p:txBody>
      </p:sp>
      <p:sp>
        <p:nvSpPr>
          <p:cNvPr id="242" name="Google Shape;242;p15"/>
          <p:cNvSpPr/>
          <p:nvPr/>
        </p:nvSpPr>
        <p:spPr>
          <a:xfrm>
            <a:off x="4279106" y="1021039"/>
            <a:ext cx="3628321" cy="5321831"/>
          </a:xfrm>
          <a:prstGeom prst="roundRect">
            <a:avLst>
              <a:gd name="adj" fmla="val 7986"/>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defRPr/>
            </a:pPr>
            <a:endParaRPr sz="1467" b="1" kern="0">
              <a:solidFill>
                <a:srgbClr val="16A34A"/>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p:txBody>
      </p:sp>
      <p:sp>
        <p:nvSpPr>
          <p:cNvPr id="243" name="Google Shape;243;p15"/>
          <p:cNvSpPr txBox="1"/>
          <p:nvPr/>
        </p:nvSpPr>
        <p:spPr>
          <a:xfrm>
            <a:off x="4441213" y="1163782"/>
            <a:ext cx="2329577" cy="1107941"/>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3200" kern="0">
                <a:solidFill>
                  <a:srgbClr val="16A34A"/>
                </a:solidFill>
                <a:latin typeface="DM Sans"/>
                <a:ea typeface="DM Sans"/>
                <a:cs typeface="DM Sans"/>
                <a:sym typeface="DM Sans"/>
              </a:rPr>
              <a:t>Weight Journey</a:t>
            </a:r>
            <a:endParaRPr sz="3200" kern="0">
              <a:solidFill>
                <a:srgbClr val="000000"/>
              </a:solidFill>
              <a:latin typeface="Calibri"/>
              <a:ea typeface="Calibri"/>
              <a:cs typeface="Calibri"/>
              <a:sym typeface="Calibri"/>
            </a:endParaRPr>
          </a:p>
        </p:txBody>
      </p:sp>
      <p:sp>
        <p:nvSpPr>
          <p:cNvPr id="244" name="Google Shape;244;p15"/>
          <p:cNvSpPr txBox="1"/>
          <p:nvPr/>
        </p:nvSpPr>
        <p:spPr>
          <a:xfrm>
            <a:off x="4441031" y="2274093"/>
            <a:ext cx="3059907" cy="697701"/>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867" i="1" kern="0">
                <a:solidFill>
                  <a:srgbClr val="01240E"/>
                </a:solidFill>
                <a:latin typeface="DM Sans"/>
                <a:ea typeface="DM Sans"/>
                <a:cs typeface="DM Sans"/>
                <a:sym typeface="DM Sans"/>
              </a:rPr>
              <a:t>Structured doctor-led care and lifestyle support</a:t>
            </a:r>
            <a:endParaRPr sz="1867" kern="0">
              <a:solidFill>
                <a:srgbClr val="000000"/>
              </a:solidFill>
              <a:latin typeface="Arial"/>
              <a:cs typeface="Arial"/>
              <a:sym typeface="Arial"/>
            </a:endParaRPr>
          </a:p>
        </p:txBody>
      </p:sp>
      <p:sp>
        <p:nvSpPr>
          <p:cNvPr id="245" name="Google Shape;245;p15"/>
          <p:cNvSpPr/>
          <p:nvPr/>
        </p:nvSpPr>
        <p:spPr>
          <a:xfrm>
            <a:off x="8172450" y="1003180"/>
            <a:ext cx="3658087" cy="5345643"/>
          </a:xfrm>
          <a:prstGeom prst="roundRect">
            <a:avLst>
              <a:gd name="adj" fmla="val 7986"/>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defRPr/>
            </a:pPr>
            <a:endParaRPr sz="1467" b="1" kern="0">
              <a:solidFill>
                <a:srgbClr val="16A34A"/>
              </a:solidFill>
              <a:latin typeface="DM Sans"/>
              <a:ea typeface="DM Sans"/>
              <a:cs typeface="DM Sans"/>
              <a:sym typeface="DM Sans"/>
            </a:endParaRPr>
          </a:p>
          <a:p>
            <a:pPr defTabSz="1219170">
              <a:buClr>
                <a:srgbClr val="000000"/>
              </a:buClr>
              <a:defRPr/>
            </a:pPr>
            <a:endParaRPr sz="1467" b="1" kern="0">
              <a:solidFill>
                <a:srgbClr val="16A34A"/>
              </a:solidFill>
              <a:latin typeface="DM Sans"/>
              <a:ea typeface="DM Sans"/>
              <a:cs typeface="DM Sans"/>
              <a:sym typeface="DM Sans"/>
            </a:endParaRPr>
          </a:p>
          <a:p>
            <a:pPr defTabSz="1219170">
              <a:buClr>
                <a:srgbClr val="000000"/>
              </a:buClr>
              <a:buSzPts val="1100"/>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buSzPts val="1100"/>
              <a:defRPr/>
            </a:pPr>
            <a:endParaRPr sz="1467" kern="0">
              <a:solidFill>
                <a:srgbClr val="000000"/>
              </a:solidFill>
              <a:latin typeface="DM Sans"/>
              <a:ea typeface="DM Sans"/>
              <a:cs typeface="DM Sans"/>
              <a:sym typeface="DM Sans"/>
            </a:endParaRPr>
          </a:p>
          <a:p>
            <a:pPr defTabSz="1219170">
              <a:buClr>
                <a:srgbClr val="000000"/>
              </a:buClr>
              <a:defRPr/>
            </a:pPr>
            <a:endParaRPr sz="1467"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a:p>
            <a:pPr defTabSz="1219170">
              <a:buClr>
                <a:srgbClr val="000000"/>
              </a:buClr>
              <a:buSzPts val="1050"/>
              <a:defRPr/>
            </a:pPr>
            <a:endParaRPr sz="1400" kern="0">
              <a:solidFill>
                <a:srgbClr val="000000"/>
              </a:solidFill>
              <a:latin typeface="DM Sans"/>
              <a:ea typeface="DM Sans"/>
              <a:cs typeface="DM Sans"/>
              <a:sym typeface="DM Sans"/>
            </a:endParaRPr>
          </a:p>
        </p:txBody>
      </p:sp>
      <p:sp>
        <p:nvSpPr>
          <p:cNvPr id="246" name="Google Shape;246;p15"/>
          <p:cNvSpPr txBox="1"/>
          <p:nvPr/>
        </p:nvSpPr>
        <p:spPr>
          <a:xfrm>
            <a:off x="8286931" y="1145920"/>
            <a:ext cx="3234452" cy="1107941"/>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3200" kern="0" dirty="0">
                <a:solidFill>
                  <a:srgbClr val="16A34A"/>
                </a:solidFill>
                <a:latin typeface="DM Sans"/>
                <a:ea typeface="DM Sans"/>
                <a:cs typeface="DM Sans"/>
                <a:sym typeface="DM Sans"/>
              </a:rPr>
              <a:t>Long-term Condition Plans</a:t>
            </a:r>
            <a:endParaRPr sz="1867" kern="0" dirty="0">
              <a:solidFill>
                <a:srgbClr val="000000"/>
              </a:solidFill>
              <a:latin typeface="Arial"/>
              <a:cs typeface="Arial"/>
              <a:sym typeface="Arial"/>
            </a:endParaRPr>
          </a:p>
        </p:txBody>
      </p:sp>
      <p:sp>
        <p:nvSpPr>
          <p:cNvPr id="247" name="Google Shape;247;p15"/>
          <p:cNvSpPr txBox="1"/>
          <p:nvPr/>
        </p:nvSpPr>
        <p:spPr>
          <a:xfrm>
            <a:off x="8286750" y="2345532"/>
            <a:ext cx="3417093" cy="697701"/>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867" i="1" kern="0" dirty="0">
                <a:solidFill>
                  <a:srgbClr val="01240E"/>
                </a:solidFill>
                <a:latin typeface="DM Sans"/>
                <a:ea typeface="DM Sans"/>
                <a:cs typeface="DM Sans"/>
                <a:sym typeface="DM Sans"/>
              </a:rPr>
              <a:t>Ongoing condition specific support</a:t>
            </a:r>
            <a:endParaRPr sz="1867" kern="0" dirty="0">
              <a:solidFill>
                <a:srgbClr val="000000"/>
              </a:solidFill>
              <a:latin typeface="Arial"/>
              <a:cs typeface="Arial"/>
              <a:sym typeface="Arial"/>
            </a:endParaRPr>
          </a:p>
        </p:txBody>
      </p:sp>
      <p:pic>
        <p:nvPicPr>
          <p:cNvPr id="248" name="Google Shape;248;p15" descr="preencoded.png"/>
          <p:cNvPicPr preferRelativeResize="0"/>
          <p:nvPr/>
        </p:nvPicPr>
        <p:blipFill rotWithShape="1">
          <a:blip r:embed="rId3">
            <a:alphaModFix/>
          </a:blip>
          <a:srcRect/>
          <a:stretch/>
        </p:blipFill>
        <p:spPr>
          <a:xfrm>
            <a:off x="600472" y="3147616"/>
            <a:ext cx="127000" cy="279400"/>
          </a:xfrm>
          <a:prstGeom prst="rect">
            <a:avLst/>
          </a:prstGeom>
          <a:noFill/>
          <a:ln>
            <a:noFill/>
          </a:ln>
        </p:spPr>
      </p:pic>
      <p:sp>
        <p:nvSpPr>
          <p:cNvPr id="249" name="Google Shape;249;p15"/>
          <p:cNvSpPr txBox="1"/>
          <p:nvPr/>
        </p:nvSpPr>
        <p:spPr>
          <a:xfrm>
            <a:off x="726282" y="3065863"/>
            <a:ext cx="3714749" cy="1477786"/>
          </a:xfrm>
          <a:prstGeom prst="rect">
            <a:avLst/>
          </a:prstGeom>
          <a:noFill/>
          <a:ln>
            <a:noFill/>
          </a:ln>
        </p:spPr>
        <p:txBody>
          <a:bodyPr spcFirstLastPara="1" wrap="square" lIns="121900" tIns="60933" rIns="121900" bIns="60933" anchor="t" anchorCtr="0">
            <a:spAutoFit/>
          </a:bodyPr>
          <a:lstStyle/>
          <a:p>
            <a:pPr defTabSz="1219170">
              <a:lnSpc>
                <a:spcPct val="150000"/>
              </a:lnSpc>
              <a:buClr>
                <a:srgbClr val="000000"/>
              </a:buClr>
              <a:defRPr/>
            </a:pPr>
            <a:r>
              <a:rPr lang="en-GB" sz="1467" kern="0">
                <a:solidFill>
                  <a:srgbClr val="000000"/>
                </a:solidFill>
                <a:latin typeface="DM Sans"/>
                <a:ea typeface="DM Sans"/>
                <a:cs typeface="DM Sans"/>
                <a:sym typeface="DM Sans"/>
              </a:rPr>
              <a:t>£75 Commission Y1</a:t>
            </a:r>
            <a:endParaRPr sz="2400" kern="0">
              <a:solidFill>
                <a:srgbClr val="000000"/>
              </a:solidFill>
              <a:latin typeface="Calibri"/>
              <a:ea typeface="Calibri"/>
              <a:cs typeface="Calibri"/>
              <a:sym typeface="Calibri"/>
            </a:endParaRPr>
          </a:p>
          <a:p>
            <a:pPr defTabSz="1219170">
              <a:lnSpc>
                <a:spcPct val="150000"/>
              </a:lnSpc>
              <a:buClr>
                <a:srgbClr val="000000"/>
              </a:buClr>
              <a:defRPr/>
            </a:pPr>
            <a:r>
              <a:rPr lang="en-GB" sz="1467" kern="0">
                <a:solidFill>
                  <a:srgbClr val="000000"/>
                </a:solidFill>
                <a:latin typeface="DM Sans"/>
                <a:ea typeface="DM Sans"/>
                <a:cs typeface="DM Sans"/>
                <a:sym typeface="DM Sans"/>
              </a:rPr>
              <a:t>£50 Subsequent Yrs</a:t>
            </a:r>
            <a:endParaRPr sz="2400" kern="0">
              <a:solidFill>
                <a:srgbClr val="000000"/>
              </a:solidFill>
              <a:latin typeface="Calibri"/>
              <a:ea typeface="Calibri"/>
              <a:cs typeface="Calibri"/>
              <a:sym typeface="Calibri"/>
            </a:endParaRPr>
          </a:p>
          <a:p>
            <a:pPr defTabSz="1219170">
              <a:lnSpc>
                <a:spcPct val="150000"/>
              </a:lnSpc>
              <a:buClr>
                <a:srgbClr val="000000"/>
              </a:buClr>
              <a:defRPr/>
            </a:pPr>
            <a:r>
              <a:rPr lang="en-GB" sz="1467" kern="0">
                <a:solidFill>
                  <a:srgbClr val="000000"/>
                </a:solidFill>
                <a:latin typeface="DM Sans"/>
                <a:ea typeface="DM Sans"/>
                <a:cs typeface="DM Sans"/>
                <a:sym typeface="DM Sans"/>
              </a:rPr>
              <a:t>12-month contracted patients</a:t>
            </a:r>
            <a:endParaRPr sz="2400" kern="0">
              <a:solidFill>
                <a:srgbClr val="000000"/>
              </a:solidFill>
              <a:latin typeface="Calibri"/>
              <a:ea typeface="Calibri"/>
              <a:cs typeface="Calibri"/>
              <a:sym typeface="Calibri"/>
            </a:endParaRPr>
          </a:p>
          <a:p>
            <a:pPr defTabSz="1219170">
              <a:lnSpc>
                <a:spcPct val="150000"/>
              </a:lnSpc>
              <a:buClr>
                <a:srgbClr val="000000"/>
              </a:buClr>
              <a:defRPr/>
            </a:pPr>
            <a:r>
              <a:rPr lang="en-GB" sz="1467" kern="0">
                <a:solidFill>
                  <a:srgbClr val="000000"/>
                </a:solidFill>
                <a:latin typeface="DM Sans"/>
                <a:ea typeface="DM Sans"/>
                <a:cs typeface="DM Sans"/>
                <a:sym typeface="DM Sans"/>
              </a:rPr>
              <a:t>Locally tailored marketing support</a:t>
            </a:r>
            <a:endParaRPr sz="2400" kern="0">
              <a:solidFill>
                <a:srgbClr val="000000"/>
              </a:solidFill>
              <a:latin typeface="Calibri"/>
              <a:ea typeface="Calibri"/>
              <a:cs typeface="Calibri"/>
              <a:sym typeface="Calibri"/>
            </a:endParaRPr>
          </a:p>
        </p:txBody>
      </p:sp>
      <p:pic>
        <p:nvPicPr>
          <p:cNvPr id="250" name="Google Shape;250;p15" descr="preencoded.png"/>
          <p:cNvPicPr preferRelativeResize="0"/>
          <p:nvPr/>
        </p:nvPicPr>
        <p:blipFill rotWithShape="1">
          <a:blip r:embed="rId3">
            <a:alphaModFix/>
          </a:blip>
          <a:srcRect/>
          <a:stretch/>
        </p:blipFill>
        <p:spPr>
          <a:xfrm>
            <a:off x="600472" y="3528616"/>
            <a:ext cx="127000" cy="279400"/>
          </a:xfrm>
          <a:prstGeom prst="rect">
            <a:avLst/>
          </a:prstGeom>
          <a:noFill/>
          <a:ln>
            <a:noFill/>
          </a:ln>
        </p:spPr>
      </p:pic>
      <p:pic>
        <p:nvPicPr>
          <p:cNvPr id="251" name="Google Shape;251;p15" descr="preencoded.png"/>
          <p:cNvPicPr preferRelativeResize="0"/>
          <p:nvPr/>
        </p:nvPicPr>
        <p:blipFill rotWithShape="1">
          <a:blip r:embed="rId3">
            <a:alphaModFix/>
          </a:blip>
          <a:srcRect/>
          <a:stretch/>
        </p:blipFill>
        <p:spPr>
          <a:xfrm>
            <a:off x="600472" y="3850085"/>
            <a:ext cx="127000" cy="279400"/>
          </a:xfrm>
          <a:prstGeom prst="rect">
            <a:avLst/>
          </a:prstGeom>
          <a:noFill/>
          <a:ln>
            <a:noFill/>
          </a:ln>
        </p:spPr>
      </p:pic>
      <p:pic>
        <p:nvPicPr>
          <p:cNvPr id="252" name="Google Shape;252;p15" descr="preencoded.png"/>
          <p:cNvPicPr preferRelativeResize="0"/>
          <p:nvPr/>
        </p:nvPicPr>
        <p:blipFill rotWithShape="1">
          <a:blip r:embed="rId3">
            <a:alphaModFix/>
          </a:blip>
          <a:srcRect/>
          <a:stretch/>
        </p:blipFill>
        <p:spPr>
          <a:xfrm>
            <a:off x="600472" y="4165601"/>
            <a:ext cx="127000" cy="279400"/>
          </a:xfrm>
          <a:prstGeom prst="rect">
            <a:avLst/>
          </a:prstGeom>
          <a:noFill/>
          <a:ln>
            <a:noFill/>
          </a:ln>
        </p:spPr>
      </p:pic>
      <p:sp>
        <p:nvSpPr>
          <p:cNvPr id="253" name="Google Shape;253;p15"/>
          <p:cNvSpPr txBox="1"/>
          <p:nvPr/>
        </p:nvSpPr>
        <p:spPr>
          <a:xfrm>
            <a:off x="4631531" y="2667001"/>
            <a:ext cx="3274219" cy="2365401"/>
          </a:xfrm>
          <a:prstGeom prst="rect">
            <a:avLst/>
          </a:prstGeom>
          <a:noFill/>
          <a:ln>
            <a:noFill/>
          </a:ln>
        </p:spPr>
        <p:txBody>
          <a:bodyPr spcFirstLastPara="1" wrap="square" lIns="121900" tIns="60933" rIns="121900" bIns="60933" anchor="t" anchorCtr="0">
            <a:spAutoFit/>
          </a:bodyPr>
          <a:lstStyle/>
          <a:p>
            <a:pPr defTabSz="1219170">
              <a:lnSpc>
                <a:spcPct val="150000"/>
              </a:lnSpc>
              <a:buClr>
                <a:srgbClr val="000000"/>
              </a:buClr>
              <a:defRPr/>
            </a:pPr>
            <a:r>
              <a:rPr lang="en-GB" sz="1400" kern="0">
                <a:solidFill>
                  <a:srgbClr val="000000"/>
                </a:solidFill>
                <a:latin typeface="DM Sans"/>
                <a:ea typeface="DM Sans"/>
                <a:cs typeface="DM Sans"/>
                <a:sym typeface="DM Sans"/>
              </a:rPr>
              <a:t>​</a:t>
            </a:r>
            <a:endParaRPr sz="2400" kern="0">
              <a:solidFill>
                <a:srgbClr val="000000"/>
              </a:solidFill>
              <a:latin typeface="Calibri"/>
              <a:ea typeface="Calibri"/>
              <a:cs typeface="Calibri"/>
              <a:sym typeface="Calibri"/>
            </a:endParaRPr>
          </a:p>
          <a:p>
            <a:pPr defTabSz="1219170">
              <a:lnSpc>
                <a:spcPct val="150000"/>
              </a:lnSpc>
              <a:buClr>
                <a:srgbClr val="000000"/>
              </a:buClr>
              <a:defRPr/>
            </a:pPr>
            <a:r>
              <a:rPr lang="en-GB" sz="1467" b="1" kern="0">
                <a:solidFill>
                  <a:srgbClr val="16A34A"/>
                </a:solidFill>
                <a:latin typeface="DM Sans"/>
                <a:ea typeface="DM Sans"/>
                <a:cs typeface="DM Sans"/>
                <a:sym typeface="DM Sans"/>
              </a:rPr>
              <a:t>Express </a:t>
            </a:r>
            <a:r>
              <a:rPr lang="en-GB" sz="1467" kern="0">
                <a:solidFill>
                  <a:srgbClr val="000000"/>
                </a:solidFill>
                <a:latin typeface="DM Sans"/>
                <a:ea typeface="DM Sans"/>
                <a:cs typeface="DM Sans"/>
                <a:sym typeface="DM Sans"/>
              </a:rPr>
              <a:t>​£48  annual fee</a:t>
            </a:r>
            <a:endParaRPr sz="1467" kern="0">
              <a:solidFill>
                <a:srgbClr val="000000"/>
              </a:solidFill>
              <a:latin typeface="DM Sans"/>
              <a:ea typeface="DM Sans"/>
              <a:cs typeface="DM Sans"/>
              <a:sym typeface="DM Sans"/>
            </a:endParaRPr>
          </a:p>
          <a:p>
            <a:pPr defTabSz="1219170">
              <a:lnSpc>
                <a:spcPct val="150000"/>
              </a:lnSpc>
              <a:buClr>
                <a:srgbClr val="000000"/>
              </a:buClr>
              <a:defRPr/>
            </a:pPr>
            <a:r>
              <a:rPr lang="en-GB" sz="1467" b="1" kern="0">
                <a:solidFill>
                  <a:srgbClr val="16A34A"/>
                </a:solidFill>
                <a:latin typeface="DM Sans"/>
                <a:ea typeface="DM Sans"/>
                <a:cs typeface="DM Sans"/>
                <a:sym typeface="DM Sans"/>
              </a:rPr>
              <a:t>Premium </a:t>
            </a:r>
            <a:r>
              <a:rPr lang="en-GB" sz="1467" kern="0">
                <a:solidFill>
                  <a:srgbClr val="000000"/>
                </a:solidFill>
                <a:latin typeface="DM Sans"/>
                <a:ea typeface="DM Sans"/>
                <a:cs typeface="DM Sans"/>
                <a:sym typeface="DM Sans"/>
              </a:rPr>
              <a:t>​£72  annual fee</a:t>
            </a:r>
            <a:endParaRPr sz="1467" kern="0">
              <a:solidFill>
                <a:srgbClr val="000000"/>
              </a:solidFill>
              <a:latin typeface="DM Sans"/>
              <a:ea typeface="DM Sans"/>
              <a:cs typeface="DM Sans"/>
              <a:sym typeface="DM Sans"/>
            </a:endParaRPr>
          </a:p>
          <a:p>
            <a:pPr defTabSz="1219170">
              <a:lnSpc>
                <a:spcPct val="150000"/>
              </a:lnSpc>
              <a:buClr>
                <a:srgbClr val="000000"/>
              </a:buClr>
              <a:defRPr/>
            </a:pPr>
            <a:r>
              <a:rPr lang="en-GB" sz="1467" kern="0">
                <a:solidFill>
                  <a:srgbClr val="000000"/>
                </a:solidFill>
                <a:latin typeface="DM Sans"/>
                <a:ea typeface="DM Sans"/>
                <a:cs typeface="DM Sans"/>
                <a:sym typeface="DM Sans"/>
              </a:rPr>
              <a:t>12-month contracted patients​</a:t>
            </a:r>
            <a:endParaRPr sz="2400" kern="0">
              <a:solidFill>
                <a:srgbClr val="000000"/>
              </a:solidFill>
              <a:latin typeface="Calibri"/>
              <a:ea typeface="Calibri"/>
              <a:cs typeface="Calibri"/>
              <a:sym typeface="Calibri"/>
            </a:endParaRPr>
          </a:p>
          <a:p>
            <a:pPr defTabSz="1219170">
              <a:lnSpc>
                <a:spcPct val="150000"/>
              </a:lnSpc>
              <a:buClr>
                <a:srgbClr val="000000"/>
              </a:buClr>
              <a:defRPr/>
            </a:pPr>
            <a:r>
              <a:rPr lang="en-GB" sz="1467" kern="0">
                <a:solidFill>
                  <a:srgbClr val="000000"/>
                </a:solidFill>
                <a:latin typeface="DM Sans"/>
                <a:ea typeface="DM Sans"/>
                <a:cs typeface="DM Sans"/>
                <a:sym typeface="DM Sans"/>
              </a:rPr>
              <a:t>Governance framework​</a:t>
            </a:r>
            <a:endParaRPr sz="2400" kern="0">
              <a:solidFill>
                <a:srgbClr val="000000"/>
              </a:solidFill>
              <a:latin typeface="Calibri"/>
              <a:ea typeface="Calibri"/>
              <a:cs typeface="Calibri"/>
              <a:sym typeface="Calibri"/>
            </a:endParaRPr>
          </a:p>
          <a:p>
            <a:pPr defTabSz="1219170">
              <a:lnSpc>
                <a:spcPct val="150000"/>
              </a:lnSpc>
              <a:buClr>
                <a:srgbClr val="000000"/>
              </a:buClr>
              <a:defRPr/>
            </a:pPr>
            <a:r>
              <a:rPr lang="en-GB" sz="1467" kern="0">
                <a:solidFill>
                  <a:srgbClr val="000000"/>
                </a:solidFill>
                <a:latin typeface="DM Sans"/>
                <a:ea typeface="DM Sans"/>
                <a:cs typeface="DM Sans"/>
                <a:sym typeface="DM Sans"/>
              </a:rPr>
              <a:t>Locally tailored marketing support​</a:t>
            </a:r>
            <a:endParaRPr sz="2400" kern="0">
              <a:solidFill>
                <a:srgbClr val="000000"/>
              </a:solidFill>
              <a:latin typeface="Calibri"/>
              <a:ea typeface="Calibri"/>
              <a:cs typeface="Calibri"/>
              <a:sym typeface="Calibri"/>
            </a:endParaRPr>
          </a:p>
          <a:p>
            <a:pPr defTabSz="1219170">
              <a:buClr>
                <a:srgbClr val="000000"/>
              </a:buClr>
              <a:defRPr/>
            </a:pPr>
            <a:endParaRPr sz="1467" kern="0">
              <a:solidFill>
                <a:srgbClr val="000000"/>
              </a:solidFill>
              <a:latin typeface="DM Sans"/>
              <a:ea typeface="DM Sans"/>
              <a:cs typeface="DM Sans"/>
              <a:sym typeface="DM Sans"/>
            </a:endParaRPr>
          </a:p>
        </p:txBody>
      </p:sp>
      <p:sp>
        <p:nvSpPr>
          <p:cNvPr id="254" name="Google Shape;254;p15"/>
          <p:cNvSpPr txBox="1"/>
          <p:nvPr/>
        </p:nvSpPr>
        <p:spPr>
          <a:xfrm>
            <a:off x="4375547" y="5637609"/>
            <a:ext cx="6096000" cy="943922"/>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467" b="1" kern="0">
                <a:solidFill>
                  <a:srgbClr val="16A34A"/>
                </a:solidFill>
                <a:latin typeface="DM Sans"/>
                <a:ea typeface="DM Sans"/>
                <a:cs typeface="DM Sans"/>
                <a:sym typeface="DM Sans"/>
              </a:rPr>
              <a:t>Pharmacy Role</a:t>
            </a:r>
            <a:r>
              <a:rPr lang="en-GB" sz="1467" kern="0">
                <a:solidFill>
                  <a:srgbClr val="000000"/>
                </a:solidFill>
                <a:latin typeface="DM Sans"/>
                <a:ea typeface="DM Sans"/>
                <a:cs typeface="DM Sans"/>
                <a:sym typeface="DM Sans"/>
              </a:rPr>
              <a:t>​​</a:t>
            </a:r>
            <a:endParaRPr sz="1867" kern="0">
              <a:solidFill>
                <a:srgbClr val="000000"/>
              </a:solidFill>
              <a:latin typeface="Arial"/>
              <a:cs typeface="Arial"/>
              <a:sym typeface="Arial"/>
            </a:endParaRPr>
          </a:p>
          <a:p>
            <a:pPr defTabSz="1219170">
              <a:buClr>
                <a:srgbClr val="000000"/>
              </a:buClr>
              <a:defRPr/>
            </a:pPr>
            <a:r>
              <a:rPr lang="en-GB" sz="1467" kern="0">
                <a:solidFill>
                  <a:srgbClr val="000000"/>
                </a:solidFill>
                <a:latin typeface="DM Sans"/>
                <a:ea typeface="DM Sans"/>
                <a:cs typeface="DM Sans"/>
                <a:sym typeface="DM Sans"/>
              </a:rPr>
              <a:t>Structured clinical  reviews ​​</a:t>
            </a:r>
            <a:endParaRPr sz="1867" kern="0">
              <a:solidFill>
                <a:srgbClr val="000000"/>
              </a:solidFill>
              <a:latin typeface="Arial"/>
              <a:cs typeface="Arial"/>
              <a:sym typeface="Arial"/>
            </a:endParaRPr>
          </a:p>
          <a:p>
            <a:pPr algn="ctr" defTabSz="1219170">
              <a:buClr>
                <a:srgbClr val="000000"/>
              </a:buClr>
              <a:defRPr/>
            </a:pPr>
            <a:endParaRPr sz="2400" kern="0">
              <a:solidFill>
                <a:srgbClr val="000000"/>
              </a:solidFill>
              <a:latin typeface="Calibri"/>
              <a:ea typeface="Calibri"/>
              <a:cs typeface="Calibri"/>
              <a:sym typeface="Calibri"/>
            </a:endParaRPr>
          </a:p>
        </p:txBody>
      </p:sp>
      <p:pic>
        <p:nvPicPr>
          <p:cNvPr id="255" name="Google Shape;255;p15" descr="preencoded.png"/>
          <p:cNvPicPr preferRelativeResize="0"/>
          <p:nvPr/>
        </p:nvPicPr>
        <p:blipFill rotWithShape="1">
          <a:blip r:embed="rId3">
            <a:alphaModFix/>
          </a:blip>
          <a:srcRect/>
          <a:stretch/>
        </p:blipFill>
        <p:spPr>
          <a:xfrm>
            <a:off x="4511675" y="3439319"/>
            <a:ext cx="127000" cy="279400"/>
          </a:xfrm>
          <a:prstGeom prst="rect">
            <a:avLst/>
          </a:prstGeom>
          <a:noFill/>
          <a:ln>
            <a:noFill/>
          </a:ln>
        </p:spPr>
      </p:pic>
      <p:pic>
        <p:nvPicPr>
          <p:cNvPr id="256" name="Google Shape;256;p15" descr="preencoded.png"/>
          <p:cNvPicPr preferRelativeResize="0"/>
          <p:nvPr/>
        </p:nvPicPr>
        <p:blipFill rotWithShape="1">
          <a:blip r:embed="rId3">
            <a:alphaModFix/>
          </a:blip>
          <a:srcRect/>
          <a:stretch/>
        </p:blipFill>
        <p:spPr>
          <a:xfrm>
            <a:off x="4511675" y="3784599"/>
            <a:ext cx="127000" cy="279400"/>
          </a:xfrm>
          <a:prstGeom prst="rect">
            <a:avLst/>
          </a:prstGeom>
          <a:noFill/>
          <a:ln>
            <a:noFill/>
          </a:ln>
        </p:spPr>
      </p:pic>
      <p:pic>
        <p:nvPicPr>
          <p:cNvPr id="257" name="Google Shape;257;p15" descr="preencoded.png"/>
          <p:cNvPicPr preferRelativeResize="0"/>
          <p:nvPr/>
        </p:nvPicPr>
        <p:blipFill rotWithShape="1">
          <a:blip r:embed="rId3">
            <a:alphaModFix/>
          </a:blip>
          <a:srcRect/>
          <a:stretch/>
        </p:blipFill>
        <p:spPr>
          <a:xfrm>
            <a:off x="4511675" y="4100116"/>
            <a:ext cx="127000" cy="279400"/>
          </a:xfrm>
          <a:prstGeom prst="rect">
            <a:avLst/>
          </a:prstGeom>
          <a:noFill/>
          <a:ln>
            <a:noFill/>
          </a:ln>
        </p:spPr>
      </p:pic>
      <p:pic>
        <p:nvPicPr>
          <p:cNvPr id="258" name="Google Shape;258;p15" descr="preencoded.png"/>
          <p:cNvPicPr preferRelativeResize="0"/>
          <p:nvPr/>
        </p:nvPicPr>
        <p:blipFill rotWithShape="1">
          <a:blip r:embed="rId3">
            <a:alphaModFix/>
          </a:blip>
          <a:srcRect/>
          <a:stretch/>
        </p:blipFill>
        <p:spPr>
          <a:xfrm>
            <a:off x="4511675" y="4451349"/>
            <a:ext cx="127000" cy="279400"/>
          </a:xfrm>
          <a:prstGeom prst="rect">
            <a:avLst/>
          </a:prstGeom>
          <a:noFill/>
          <a:ln>
            <a:noFill/>
          </a:ln>
        </p:spPr>
      </p:pic>
      <p:sp>
        <p:nvSpPr>
          <p:cNvPr id="259" name="Google Shape;259;p15"/>
          <p:cNvSpPr txBox="1"/>
          <p:nvPr/>
        </p:nvSpPr>
        <p:spPr>
          <a:xfrm>
            <a:off x="8554641" y="3042047"/>
            <a:ext cx="3554996" cy="2155151"/>
          </a:xfrm>
          <a:prstGeom prst="rect">
            <a:avLst/>
          </a:prstGeom>
          <a:noFill/>
          <a:ln>
            <a:noFill/>
          </a:ln>
        </p:spPr>
        <p:txBody>
          <a:bodyPr spcFirstLastPara="1" wrap="square" lIns="121900" tIns="60933" rIns="121900" bIns="60933" anchor="t" anchorCtr="0">
            <a:spAutoFit/>
          </a:bodyPr>
          <a:lstStyle/>
          <a:p>
            <a:pPr defTabSz="1219170">
              <a:lnSpc>
                <a:spcPct val="150000"/>
              </a:lnSpc>
              <a:buClr>
                <a:srgbClr val="000000"/>
              </a:buClr>
              <a:defRPr/>
            </a:pPr>
            <a:r>
              <a:rPr lang="en-GB" sz="1467" kern="0" dirty="0">
                <a:solidFill>
                  <a:srgbClr val="000000"/>
                </a:solidFill>
                <a:latin typeface="DM Sans"/>
                <a:ea typeface="DM Sans"/>
                <a:cs typeface="DM Sans"/>
                <a:sym typeface="DM Sans"/>
              </a:rPr>
              <a:t>Pharmacy fees vary by plan.</a:t>
            </a:r>
            <a:endParaRPr sz="2400" kern="0" dirty="0">
              <a:solidFill>
                <a:srgbClr val="000000"/>
              </a:solidFill>
              <a:latin typeface="Calibri"/>
              <a:ea typeface="Calibri"/>
              <a:cs typeface="Calibri"/>
              <a:sym typeface="Calibri"/>
            </a:endParaRPr>
          </a:p>
          <a:p>
            <a:pPr defTabSz="1219170">
              <a:lnSpc>
                <a:spcPct val="150000"/>
              </a:lnSpc>
              <a:buClr>
                <a:srgbClr val="000000"/>
              </a:buClr>
              <a:defRPr/>
            </a:pPr>
            <a:r>
              <a:rPr lang="en-GB" sz="1467" kern="0" dirty="0">
                <a:solidFill>
                  <a:srgbClr val="000000"/>
                </a:solidFill>
                <a:latin typeface="DM Sans"/>
                <a:ea typeface="DM Sans"/>
                <a:cs typeface="DM Sans"/>
                <a:sym typeface="DM Sans"/>
              </a:rPr>
              <a:t>Please arrange a meeting with </a:t>
            </a:r>
            <a:r>
              <a:rPr lang="en-GB" sz="1467" b="1" kern="0" dirty="0">
                <a:solidFill>
                  <a:srgbClr val="000000"/>
                </a:solidFill>
                <a:latin typeface="DM Sans"/>
                <a:ea typeface="DM Sans"/>
                <a:cs typeface="DM Sans"/>
                <a:sym typeface="DM Sans"/>
              </a:rPr>
              <a:t>Lucy Beazley </a:t>
            </a:r>
            <a:r>
              <a:rPr lang="en-GB" sz="1467" kern="0" dirty="0">
                <a:solidFill>
                  <a:srgbClr val="000000"/>
                </a:solidFill>
                <a:latin typeface="DM Sans"/>
                <a:ea typeface="DM Sans"/>
                <a:cs typeface="DM Sans"/>
                <a:sym typeface="DM Sans"/>
              </a:rPr>
              <a:t>for</a:t>
            </a:r>
            <a:r>
              <a:rPr lang="en-GB" sz="1467" b="1" kern="0" dirty="0">
                <a:solidFill>
                  <a:srgbClr val="000000"/>
                </a:solidFill>
                <a:latin typeface="DM Sans"/>
                <a:ea typeface="DM Sans"/>
                <a:cs typeface="DM Sans"/>
                <a:sym typeface="DM Sans"/>
              </a:rPr>
              <a:t> </a:t>
            </a:r>
            <a:r>
              <a:rPr lang="en-GB" sz="1467" kern="0" dirty="0">
                <a:solidFill>
                  <a:srgbClr val="000000"/>
                </a:solidFill>
                <a:latin typeface="DM Sans"/>
                <a:ea typeface="DM Sans"/>
                <a:cs typeface="DM Sans"/>
                <a:sym typeface="DM Sans"/>
              </a:rPr>
              <a:t>specific figures.</a:t>
            </a:r>
            <a:endParaRPr sz="2400" kern="0" dirty="0">
              <a:solidFill>
                <a:srgbClr val="000000"/>
              </a:solidFill>
              <a:latin typeface="Calibri"/>
              <a:ea typeface="Calibri"/>
              <a:cs typeface="Calibri"/>
              <a:sym typeface="Calibri"/>
            </a:endParaRPr>
          </a:p>
          <a:p>
            <a:pPr defTabSz="1219170">
              <a:lnSpc>
                <a:spcPct val="150000"/>
              </a:lnSpc>
              <a:buClr>
                <a:srgbClr val="000000"/>
              </a:buClr>
              <a:defRPr/>
            </a:pPr>
            <a:r>
              <a:rPr lang="en-GB" sz="1467" kern="0" dirty="0">
                <a:solidFill>
                  <a:srgbClr val="000000"/>
                </a:solidFill>
                <a:latin typeface="DM Sans"/>
                <a:ea typeface="DM Sans"/>
                <a:cs typeface="DM Sans"/>
                <a:sym typeface="DM Sans"/>
              </a:rPr>
              <a:t>12-month contracted patients​</a:t>
            </a:r>
            <a:endParaRPr sz="1867" kern="0" dirty="0">
              <a:solidFill>
                <a:srgbClr val="000000"/>
              </a:solidFill>
              <a:latin typeface="Arial"/>
              <a:cs typeface="Arial"/>
              <a:sym typeface="Arial"/>
            </a:endParaRPr>
          </a:p>
          <a:p>
            <a:pPr defTabSz="1219170">
              <a:lnSpc>
                <a:spcPct val="150000"/>
              </a:lnSpc>
              <a:buClr>
                <a:srgbClr val="000000"/>
              </a:buClr>
              <a:defRPr/>
            </a:pPr>
            <a:r>
              <a:rPr lang="en-GB" sz="1467" kern="0" dirty="0">
                <a:solidFill>
                  <a:srgbClr val="000000"/>
                </a:solidFill>
                <a:latin typeface="DM Sans"/>
                <a:ea typeface="DM Sans"/>
                <a:cs typeface="DM Sans"/>
                <a:sym typeface="DM Sans"/>
              </a:rPr>
              <a:t>Governance framework</a:t>
            </a:r>
            <a:endParaRPr sz="1867" kern="0" dirty="0">
              <a:solidFill>
                <a:srgbClr val="000000"/>
              </a:solidFill>
              <a:latin typeface="Arial"/>
              <a:cs typeface="Arial"/>
              <a:sym typeface="Arial"/>
            </a:endParaRPr>
          </a:p>
          <a:p>
            <a:pPr defTabSz="1219170">
              <a:lnSpc>
                <a:spcPct val="150000"/>
              </a:lnSpc>
              <a:buClr>
                <a:srgbClr val="000000"/>
              </a:buClr>
              <a:defRPr/>
            </a:pPr>
            <a:r>
              <a:rPr lang="en-GB" sz="1467" kern="0" dirty="0">
                <a:solidFill>
                  <a:srgbClr val="000000"/>
                </a:solidFill>
                <a:latin typeface="DM Sans"/>
                <a:ea typeface="DM Sans"/>
                <a:cs typeface="DM Sans"/>
                <a:sym typeface="DM Sans"/>
              </a:rPr>
              <a:t>Locally tailored marketing support​</a:t>
            </a:r>
            <a:endParaRPr sz="1867" kern="0" dirty="0">
              <a:solidFill>
                <a:srgbClr val="000000"/>
              </a:solidFill>
              <a:latin typeface="Arial"/>
              <a:cs typeface="Arial"/>
              <a:sym typeface="Arial"/>
            </a:endParaRPr>
          </a:p>
        </p:txBody>
      </p:sp>
      <p:sp>
        <p:nvSpPr>
          <p:cNvPr id="260" name="Google Shape;260;p15"/>
          <p:cNvSpPr txBox="1"/>
          <p:nvPr/>
        </p:nvSpPr>
        <p:spPr>
          <a:xfrm>
            <a:off x="8173640" y="5637609"/>
            <a:ext cx="6096000" cy="943922"/>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467" b="1" kern="0" dirty="0">
                <a:solidFill>
                  <a:srgbClr val="16A34A"/>
                </a:solidFill>
                <a:latin typeface="DM Sans"/>
                <a:ea typeface="DM Sans"/>
                <a:cs typeface="DM Sans"/>
                <a:sym typeface="DM Sans"/>
              </a:rPr>
              <a:t>Pharmacy Role</a:t>
            </a:r>
            <a:r>
              <a:rPr lang="en-GB" sz="1467" kern="0" dirty="0">
                <a:solidFill>
                  <a:srgbClr val="000000"/>
                </a:solidFill>
                <a:latin typeface="DM Sans"/>
                <a:ea typeface="DM Sans"/>
                <a:cs typeface="DM Sans"/>
                <a:sym typeface="DM Sans"/>
              </a:rPr>
              <a:t>​​</a:t>
            </a:r>
            <a:endParaRPr sz="1867" kern="0" dirty="0">
              <a:solidFill>
                <a:srgbClr val="000000"/>
              </a:solidFill>
              <a:latin typeface="Arial"/>
              <a:cs typeface="Arial"/>
              <a:sym typeface="Arial"/>
            </a:endParaRPr>
          </a:p>
          <a:p>
            <a:pPr defTabSz="1219170">
              <a:buClr>
                <a:srgbClr val="000000"/>
              </a:buClr>
              <a:defRPr/>
            </a:pPr>
            <a:r>
              <a:rPr lang="en-GB" sz="1467" kern="0" dirty="0">
                <a:solidFill>
                  <a:srgbClr val="000000"/>
                </a:solidFill>
                <a:latin typeface="DM Sans"/>
                <a:ea typeface="DM Sans"/>
                <a:cs typeface="DM Sans"/>
                <a:sym typeface="DM Sans"/>
              </a:rPr>
              <a:t>Condition based clinical reviews​</a:t>
            </a:r>
            <a:endParaRPr sz="1867" kern="0" dirty="0">
              <a:solidFill>
                <a:srgbClr val="000000"/>
              </a:solidFill>
              <a:latin typeface="Arial"/>
              <a:cs typeface="Arial"/>
              <a:sym typeface="Arial"/>
            </a:endParaRPr>
          </a:p>
          <a:p>
            <a:pPr algn="ctr" defTabSz="1219170">
              <a:buClr>
                <a:srgbClr val="000000"/>
              </a:buClr>
              <a:defRPr/>
            </a:pPr>
            <a:endParaRPr sz="2400" kern="0" dirty="0">
              <a:solidFill>
                <a:srgbClr val="000000"/>
              </a:solidFill>
              <a:latin typeface="Calibri"/>
              <a:ea typeface="Calibri"/>
              <a:cs typeface="Calibri"/>
              <a:sym typeface="Calibri"/>
            </a:endParaRPr>
          </a:p>
        </p:txBody>
      </p:sp>
      <p:pic>
        <p:nvPicPr>
          <p:cNvPr id="261" name="Google Shape;261;p15" descr="preencoded.png"/>
          <p:cNvPicPr preferRelativeResize="0"/>
          <p:nvPr/>
        </p:nvPicPr>
        <p:blipFill rotWithShape="1">
          <a:blip r:embed="rId3">
            <a:alphaModFix/>
          </a:blip>
          <a:srcRect/>
          <a:stretch/>
        </p:blipFill>
        <p:spPr>
          <a:xfrm>
            <a:off x="4511675" y="3064272"/>
            <a:ext cx="127000" cy="279400"/>
          </a:xfrm>
          <a:prstGeom prst="rect">
            <a:avLst/>
          </a:prstGeom>
          <a:noFill/>
          <a:ln>
            <a:noFill/>
          </a:ln>
        </p:spPr>
      </p:pic>
      <p:pic>
        <p:nvPicPr>
          <p:cNvPr id="262" name="Google Shape;262;p15" descr="preencoded.png"/>
          <p:cNvPicPr preferRelativeResize="0"/>
          <p:nvPr/>
        </p:nvPicPr>
        <p:blipFill rotWithShape="1">
          <a:blip r:embed="rId3">
            <a:alphaModFix/>
          </a:blip>
          <a:srcRect/>
          <a:stretch/>
        </p:blipFill>
        <p:spPr>
          <a:xfrm>
            <a:off x="8428829" y="3528616"/>
            <a:ext cx="127000" cy="279400"/>
          </a:xfrm>
          <a:prstGeom prst="rect">
            <a:avLst/>
          </a:prstGeom>
          <a:noFill/>
          <a:ln>
            <a:noFill/>
          </a:ln>
        </p:spPr>
      </p:pic>
      <p:pic>
        <p:nvPicPr>
          <p:cNvPr id="263" name="Google Shape;263;p15" descr="preencoded.png"/>
          <p:cNvPicPr preferRelativeResize="0"/>
          <p:nvPr/>
        </p:nvPicPr>
        <p:blipFill rotWithShape="1">
          <a:blip r:embed="rId3">
            <a:alphaModFix/>
          </a:blip>
          <a:srcRect/>
          <a:stretch/>
        </p:blipFill>
        <p:spPr>
          <a:xfrm>
            <a:off x="8428829" y="4504927"/>
            <a:ext cx="127000" cy="279400"/>
          </a:xfrm>
          <a:prstGeom prst="rect">
            <a:avLst/>
          </a:prstGeom>
          <a:noFill/>
          <a:ln>
            <a:noFill/>
          </a:ln>
        </p:spPr>
      </p:pic>
      <p:pic>
        <p:nvPicPr>
          <p:cNvPr id="264" name="Google Shape;264;p15" descr="preencoded.png"/>
          <p:cNvPicPr preferRelativeResize="0"/>
          <p:nvPr/>
        </p:nvPicPr>
        <p:blipFill rotWithShape="1">
          <a:blip r:embed="rId3">
            <a:alphaModFix/>
          </a:blip>
          <a:srcRect/>
          <a:stretch/>
        </p:blipFill>
        <p:spPr>
          <a:xfrm>
            <a:off x="8428829" y="3153568"/>
            <a:ext cx="127000" cy="279400"/>
          </a:xfrm>
          <a:prstGeom prst="rect">
            <a:avLst/>
          </a:prstGeom>
          <a:noFill/>
          <a:ln>
            <a:noFill/>
          </a:ln>
        </p:spPr>
      </p:pic>
      <p:pic>
        <p:nvPicPr>
          <p:cNvPr id="265" name="Google Shape;265;p15" descr="preencoded.png"/>
          <p:cNvPicPr preferRelativeResize="0"/>
          <p:nvPr/>
        </p:nvPicPr>
        <p:blipFill rotWithShape="1">
          <a:blip r:embed="rId3">
            <a:alphaModFix/>
          </a:blip>
          <a:srcRect/>
          <a:stretch/>
        </p:blipFill>
        <p:spPr>
          <a:xfrm>
            <a:off x="8451549" y="4820481"/>
            <a:ext cx="127000" cy="279400"/>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a:extLst>
            <a:ext uri="{FF2B5EF4-FFF2-40B4-BE49-F238E27FC236}">
              <a16:creationId xmlns:a16="http://schemas.microsoft.com/office/drawing/2014/main" id="{1492A2AA-56F3-BD71-0784-C2B42868A1ED}"/>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1F905C22-5DA9-BA31-F1FF-123950565552}"/>
              </a:ext>
            </a:extLst>
          </p:cNvPr>
          <p:cNvSpPr/>
          <p:nvPr/>
        </p:nvSpPr>
        <p:spPr>
          <a:xfrm>
            <a:off x="133135" y="481582"/>
            <a:ext cx="10960100" cy="368300"/>
          </a:xfrm>
          <a:prstGeom prst="rect">
            <a:avLst/>
          </a:prstGeom>
          <a:noFill/>
          <a:ln/>
        </p:spPr>
        <p:txBody>
          <a:bodyPr wrap="square" rtlCol="0" anchor="ctr"/>
          <a:lstStyle/>
          <a:p>
            <a:pPr defTabSz="1219170">
              <a:lnSpc>
                <a:spcPts val="2880"/>
              </a:lnSpc>
              <a:defRPr/>
            </a:pPr>
            <a:r>
              <a:rPr lang="en-US" sz="2400" b="1" kern="0" spc="-48" dirty="0">
                <a:solidFill>
                  <a:srgbClr val="01240E">
                    <a:alpha val="99000"/>
                  </a:srgbClr>
                </a:solidFill>
                <a:latin typeface="DM Sans" pitchFamily="34" charset="0"/>
                <a:ea typeface="DM Sans" pitchFamily="34" charset="-122"/>
                <a:cs typeface="DM Sans" pitchFamily="34" charset="-120"/>
              </a:rPr>
              <a:t>Virty Subscription Plans Launching</a:t>
            </a:r>
          </a:p>
          <a:p>
            <a:pPr defTabSz="1219170">
              <a:lnSpc>
                <a:spcPts val="2880"/>
              </a:lnSpc>
              <a:defRPr/>
            </a:pPr>
            <a:endParaRPr lang="en-US" sz="2400" dirty="0">
              <a:solidFill>
                <a:prstClr val="black"/>
              </a:solidFill>
              <a:latin typeface="Calibri" panose="020F0502020204030204"/>
            </a:endParaRPr>
          </a:p>
        </p:txBody>
      </p:sp>
      <p:sp>
        <p:nvSpPr>
          <p:cNvPr id="3" name="Text 1">
            <a:extLst>
              <a:ext uri="{FF2B5EF4-FFF2-40B4-BE49-F238E27FC236}">
                <a16:creationId xmlns:a16="http://schemas.microsoft.com/office/drawing/2014/main" id="{6D99C4FC-7B29-B6CF-47C3-3C8CFE9346F7}"/>
              </a:ext>
            </a:extLst>
          </p:cNvPr>
          <p:cNvSpPr/>
          <p:nvPr/>
        </p:nvSpPr>
        <p:spPr>
          <a:xfrm>
            <a:off x="5480051" y="5284355"/>
            <a:ext cx="1841500" cy="342900"/>
          </a:xfrm>
          <a:prstGeom prst="rect">
            <a:avLst/>
          </a:prstGeom>
          <a:noFill/>
          <a:ln/>
        </p:spPr>
        <p:txBody>
          <a:bodyPr wrap="square" rtlCol="0" anchor="ctr"/>
          <a:lstStyle/>
          <a:p>
            <a:pPr algn="ctr" defTabSz="1219170">
              <a:lnSpc>
                <a:spcPts val="2700"/>
              </a:lnSpc>
              <a:defRPr/>
            </a:pPr>
            <a:r>
              <a:rPr lang="en-US" sz="2000" b="1" kern="0" spc="-40">
                <a:solidFill>
                  <a:srgbClr val="FFFFFF">
                    <a:alpha val="99000"/>
                  </a:srgbClr>
                </a:solidFill>
                <a:latin typeface="DM Sans" pitchFamily="34" charset="0"/>
                <a:ea typeface="DM Sans" pitchFamily="34" charset="-122"/>
                <a:cs typeface="DM Sans" pitchFamily="34" charset="-120"/>
              </a:rPr>
              <a:t>The Result</a:t>
            </a:r>
            <a:endParaRPr lang="en-US" sz="2000">
              <a:solidFill>
                <a:prstClr val="black"/>
              </a:solidFill>
              <a:latin typeface="Calibri" panose="020F0502020204030204"/>
            </a:endParaRPr>
          </a:p>
        </p:txBody>
      </p:sp>
      <p:sp>
        <p:nvSpPr>
          <p:cNvPr id="6" name="Text 4">
            <a:extLst>
              <a:ext uri="{FF2B5EF4-FFF2-40B4-BE49-F238E27FC236}">
                <a16:creationId xmlns:a16="http://schemas.microsoft.com/office/drawing/2014/main" id="{7BB3C17D-9ECC-3119-36B0-072B8A258C7D}"/>
              </a:ext>
            </a:extLst>
          </p:cNvPr>
          <p:cNvSpPr/>
          <p:nvPr/>
        </p:nvSpPr>
        <p:spPr>
          <a:xfrm>
            <a:off x="1582795" y="3929860"/>
            <a:ext cx="2208952" cy="1581723"/>
          </a:xfrm>
          <a:prstGeom prst="rect">
            <a:avLst/>
          </a:prstGeom>
          <a:noFill/>
          <a:ln/>
        </p:spPr>
        <p:txBody>
          <a:bodyPr wrap="square" lIns="121920" tIns="60960" rIns="121920" bIns="60960" rtlCol="0" anchor="ctr"/>
          <a:lstStyle/>
          <a:p>
            <a:pPr marL="228594" indent="-228594" defTabSz="1219170">
              <a:lnSpc>
                <a:spcPts val="2376"/>
              </a:lnSpc>
              <a:buFont typeface="Arial" panose="020B0604020202020204" pitchFamily="34" charset="0"/>
              <a:buChar char="•"/>
              <a:defRPr/>
            </a:pPr>
            <a:endParaRPr lang="en-GB" sz="1400" kern="0" spc="-36" dirty="0">
              <a:solidFill>
                <a:srgbClr val="01240E">
                  <a:alpha val="99000"/>
                </a:srgbClr>
              </a:solidFill>
              <a:latin typeface="DM Sans"/>
              <a:ea typeface="Calibri" panose="020F0502020204030204"/>
              <a:cs typeface="Calibri" panose="020F0502020204030204"/>
            </a:endParaRPr>
          </a:p>
          <a:p>
            <a:pPr marL="228594" indent="-228594" defTabSz="1219170">
              <a:lnSpc>
                <a:spcPts val="2376"/>
              </a:lnSpc>
              <a:buFont typeface="Arial"/>
              <a:buChar char="•"/>
              <a:defRPr/>
            </a:pPr>
            <a:endParaRPr lang="en-US" sz="1900" dirty="0">
              <a:solidFill>
                <a:prstClr val="black"/>
              </a:solidFill>
              <a:latin typeface="DM Sans"/>
              <a:ea typeface="Calibri" panose="020F0502020204030204"/>
              <a:cs typeface="Calibri" panose="020F0502020204030204"/>
            </a:endParaRPr>
          </a:p>
        </p:txBody>
      </p:sp>
      <p:sp>
        <p:nvSpPr>
          <p:cNvPr id="4" name="Rectangle: Rounded Corners 3">
            <a:extLst>
              <a:ext uri="{FF2B5EF4-FFF2-40B4-BE49-F238E27FC236}">
                <a16:creationId xmlns:a16="http://schemas.microsoft.com/office/drawing/2014/main" id="{F24B9F44-C7CA-E3F6-D695-C48946DE37EB}"/>
              </a:ext>
            </a:extLst>
          </p:cNvPr>
          <p:cNvSpPr/>
          <p:nvPr/>
        </p:nvSpPr>
        <p:spPr>
          <a:xfrm>
            <a:off x="559030" y="2509918"/>
            <a:ext cx="2135031" cy="3987333"/>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1333" b="1" dirty="0">
              <a:solidFill>
                <a:srgbClr val="199044"/>
              </a:solidFill>
              <a:latin typeface="DM Sans" pitchFamily="2" charset="0"/>
            </a:endParaRPr>
          </a:p>
        </p:txBody>
      </p:sp>
      <p:sp>
        <p:nvSpPr>
          <p:cNvPr id="7" name="Rectangle: Rounded Corners 6">
            <a:extLst>
              <a:ext uri="{FF2B5EF4-FFF2-40B4-BE49-F238E27FC236}">
                <a16:creationId xmlns:a16="http://schemas.microsoft.com/office/drawing/2014/main" id="{69951AD4-8643-A343-F151-A1F072C1E461}"/>
              </a:ext>
            </a:extLst>
          </p:cNvPr>
          <p:cNvSpPr/>
          <p:nvPr/>
        </p:nvSpPr>
        <p:spPr>
          <a:xfrm>
            <a:off x="3239753" y="2496705"/>
            <a:ext cx="2135031" cy="4106887"/>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prstClr val="white"/>
              </a:solidFill>
              <a:latin typeface="Calibri" panose="020F0502020204030204"/>
            </a:endParaRPr>
          </a:p>
        </p:txBody>
      </p:sp>
      <p:sp>
        <p:nvSpPr>
          <p:cNvPr id="8" name="Rectangle: Rounded Corners 7">
            <a:extLst>
              <a:ext uri="{FF2B5EF4-FFF2-40B4-BE49-F238E27FC236}">
                <a16:creationId xmlns:a16="http://schemas.microsoft.com/office/drawing/2014/main" id="{0AFF56FD-4316-0D4F-A377-73A2F5A729D0}"/>
              </a:ext>
            </a:extLst>
          </p:cNvPr>
          <p:cNvSpPr/>
          <p:nvPr/>
        </p:nvSpPr>
        <p:spPr>
          <a:xfrm>
            <a:off x="6199643" y="2512203"/>
            <a:ext cx="2135031" cy="3958925"/>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prstClr val="white"/>
              </a:solidFill>
              <a:latin typeface="Calibri" panose="020F0502020204030204"/>
            </a:endParaRPr>
          </a:p>
        </p:txBody>
      </p:sp>
      <p:sp>
        <p:nvSpPr>
          <p:cNvPr id="9" name="Rectangle: Rounded Corners 8">
            <a:extLst>
              <a:ext uri="{FF2B5EF4-FFF2-40B4-BE49-F238E27FC236}">
                <a16:creationId xmlns:a16="http://schemas.microsoft.com/office/drawing/2014/main" id="{97EA0BDD-0BF0-F1BE-EABB-A76B48BDF288}"/>
              </a:ext>
            </a:extLst>
          </p:cNvPr>
          <p:cNvSpPr/>
          <p:nvPr/>
        </p:nvSpPr>
        <p:spPr>
          <a:xfrm>
            <a:off x="8987797" y="2496705"/>
            <a:ext cx="2105439" cy="3988519"/>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prstClr val="white"/>
              </a:solidFill>
              <a:latin typeface="Calibri" panose="020F0502020204030204"/>
            </a:endParaRPr>
          </a:p>
        </p:txBody>
      </p:sp>
      <p:sp>
        <p:nvSpPr>
          <p:cNvPr id="10" name="Rectangle: Rounded Corners 9">
            <a:extLst>
              <a:ext uri="{FF2B5EF4-FFF2-40B4-BE49-F238E27FC236}">
                <a16:creationId xmlns:a16="http://schemas.microsoft.com/office/drawing/2014/main" id="{63B51DA7-D1A5-7C1F-D380-50B764A940E1}"/>
              </a:ext>
            </a:extLst>
          </p:cNvPr>
          <p:cNvSpPr/>
          <p:nvPr/>
        </p:nvSpPr>
        <p:spPr>
          <a:xfrm>
            <a:off x="559607" y="5862598"/>
            <a:ext cx="2135031" cy="741879"/>
          </a:xfrm>
          <a:prstGeom prst="roundRect">
            <a:avLst/>
          </a:prstGeom>
          <a:solidFill>
            <a:srgbClr val="14532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219170">
              <a:defRPr/>
            </a:pPr>
            <a:r>
              <a:rPr lang="en-US" sz="1333" dirty="0">
                <a:solidFill>
                  <a:prstClr val="white"/>
                </a:solidFill>
                <a:latin typeface="DM Sans" pitchFamily="2" charset="0"/>
              </a:rPr>
              <a:t>Monitor, Manage.</a:t>
            </a:r>
          </a:p>
          <a:p>
            <a:pPr defTabSz="1219170">
              <a:defRPr/>
            </a:pPr>
            <a:r>
              <a:rPr lang="en-US" sz="1333" dirty="0">
                <a:solidFill>
                  <a:prstClr val="white"/>
                </a:solidFill>
                <a:latin typeface="DM Sans" pitchFamily="2" charset="0"/>
              </a:rPr>
              <a:t>Live Well</a:t>
            </a:r>
            <a:endParaRPr lang="en-GB" sz="1333" dirty="0">
              <a:solidFill>
                <a:prstClr val="white"/>
              </a:solidFill>
              <a:latin typeface="DM Sans" pitchFamily="2" charset="0"/>
            </a:endParaRPr>
          </a:p>
        </p:txBody>
      </p:sp>
      <p:sp>
        <p:nvSpPr>
          <p:cNvPr id="11" name="Rectangle: Rounded Corners 10">
            <a:extLst>
              <a:ext uri="{FF2B5EF4-FFF2-40B4-BE49-F238E27FC236}">
                <a16:creationId xmlns:a16="http://schemas.microsoft.com/office/drawing/2014/main" id="{AC98DCA2-5142-9101-21B6-007E7D874B67}"/>
              </a:ext>
            </a:extLst>
          </p:cNvPr>
          <p:cNvSpPr/>
          <p:nvPr/>
        </p:nvSpPr>
        <p:spPr>
          <a:xfrm>
            <a:off x="3254550" y="5860262"/>
            <a:ext cx="2135031" cy="741879"/>
          </a:xfrm>
          <a:prstGeom prst="roundRect">
            <a:avLst/>
          </a:prstGeom>
          <a:solidFill>
            <a:srgbClr val="14532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219170">
              <a:defRPr/>
            </a:pPr>
            <a:r>
              <a:rPr lang="en-US" sz="1333" dirty="0">
                <a:solidFill>
                  <a:prstClr val="white"/>
                </a:solidFill>
                <a:latin typeface="DM Sans" pitchFamily="2" charset="0"/>
              </a:rPr>
              <a:t>Track, Support.</a:t>
            </a:r>
          </a:p>
          <a:p>
            <a:pPr defTabSz="1219170">
              <a:defRPr/>
            </a:pPr>
            <a:r>
              <a:rPr lang="en-US" sz="1333" dirty="0">
                <a:solidFill>
                  <a:prstClr val="white"/>
                </a:solidFill>
                <a:latin typeface="DM Sans" pitchFamily="2" charset="0"/>
              </a:rPr>
              <a:t>Protect</a:t>
            </a:r>
            <a:endParaRPr lang="en-GB" sz="1333" dirty="0">
              <a:solidFill>
                <a:prstClr val="white"/>
              </a:solidFill>
              <a:latin typeface="DM Sans" pitchFamily="2" charset="0"/>
            </a:endParaRPr>
          </a:p>
        </p:txBody>
      </p:sp>
      <p:sp>
        <p:nvSpPr>
          <p:cNvPr id="13" name="Rectangle: Rounded Corners 12">
            <a:extLst>
              <a:ext uri="{FF2B5EF4-FFF2-40B4-BE49-F238E27FC236}">
                <a16:creationId xmlns:a16="http://schemas.microsoft.com/office/drawing/2014/main" id="{A0DB1639-7A11-8A38-653B-0F96F0AA7BF1}"/>
              </a:ext>
            </a:extLst>
          </p:cNvPr>
          <p:cNvSpPr/>
          <p:nvPr/>
        </p:nvSpPr>
        <p:spPr>
          <a:xfrm>
            <a:off x="6199642" y="5851566"/>
            <a:ext cx="2135031" cy="741879"/>
          </a:xfrm>
          <a:prstGeom prst="roundRect">
            <a:avLst/>
          </a:prstGeom>
          <a:solidFill>
            <a:srgbClr val="14532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219170">
              <a:defRPr/>
            </a:pPr>
            <a:r>
              <a:rPr lang="en-US" sz="1333" dirty="0">
                <a:solidFill>
                  <a:prstClr val="white"/>
                </a:solidFill>
                <a:latin typeface="DM Sans" pitchFamily="2" charset="0"/>
              </a:rPr>
              <a:t>Feel Supported.</a:t>
            </a:r>
          </a:p>
          <a:p>
            <a:pPr defTabSz="1219170">
              <a:defRPr/>
            </a:pPr>
            <a:r>
              <a:rPr lang="en-US" sz="1333" dirty="0">
                <a:solidFill>
                  <a:prstClr val="white"/>
                </a:solidFill>
                <a:latin typeface="DM Sans" pitchFamily="2" charset="0"/>
              </a:rPr>
              <a:t>Live Balanced</a:t>
            </a:r>
            <a:endParaRPr lang="en-GB" sz="1333" dirty="0">
              <a:solidFill>
                <a:prstClr val="white"/>
              </a:solidFill>
              <a:latin typeface="DM Sans" pitchFamily="2" charset="0"/>
            </a:endParaRPr>
          </a:p>
        </p:txBody>
      </p:sp>
      <p:sp>
        <p:nvSpPr>
          <p:cNvPr id="14" name="Rectangle: Rounded Corners 13">
            <a:extLst>
              <a:ext uri="{FF2B5EF4-FFF2-40B4-BE49-F238E27FC236}">
                <a16:creationId xmlns:a16="http://schemas.microsoft.com/office/drawing/2014/main" id="{7970F9C2-7367-692E-DA23-A216CE76A554}"/>
              </a:ext>
            </a:extLst>
          </p:cNvPr>
          <p:cNvSpPr/>
          <p:nvPr/>
        </p:nvSpPr>
        <p:spPr>
          <a:xfrm>
            <a:off x="8990183" y="5836653"/>
            <a:ext cx="2135031" cy="741879"/>
          </a:xfrm>
          <a:prstGeom prst="roundRect">
            <a:avLst/>
          </a:prstGeom>
          <a:solidFill>
            <a:srgbClr val="14532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219170">
              <a:defRPr/>
            </a:pPr>
            <a:r>
              <a:rPr lang="en-US" sz="1333" dirty="0">
                <a:solidFill>
                  <a:prstClr val="white"/>
                </a:solidFill>
                <a:latin typeface="DM Sans" pitchFamily="2" charset="0"/>
              </a:rPr>
              <a:t>Rest Better</a:t>
            </a:r>
          </a:p>
          <a:p>
            <a:pPr defTabSz="1219170">
              <a:defRPr/>
            </a:pPr>
            <a:r>
              <a:rPr lang="en-US" sz="1333" dirty="0">
                <a:solidFill>
                  <a:prstClr val="white"/>
                </a:solidFill>
                <a:latin typeface="DM Sans" pitchFamily="2" charset="0"/>
              </a:rPr>
              <a:t>Live Better</a:t>
            </a:r>
            <a:endParaRPr lang="en-GB" sz="1333" dirty="0">
              <a:solidFill>
                <a:prstClr val="white"/>
              </a:solidFill>
              <a:latin typeface="DM Sans" pitchFamily="2" charset="0"/>
            </a:endParaRPr>
          </a:p>
        </p:txBody>
      </p:sp>
      <p:pic>
        <p:nvPicPr>
          <p:cNvPr id="17" name="Picture 16" descr="A green circle with a black and white sign&#10;&#10;AI-generated content may be incorrect.">
            <a:extLst>
              <a:ext uri="{FF2B5EF4-FFF2-40B4-BE49-F238E27FC236}">
                <a16:creationId xmlns:a16="http://schemas.microsoft.com/office/drawing/2014/main" id="{34C4E6F8-98B2-739A-C10F-C67E24701641}"/>
              </a:ext>
            </a:extLst>
          </p:cNvPr>
          <p:cNvPicPr>
            <a:picLocks noChangeAspect="1"/>
          </p:cNvPicPr>
          <p:nvPr/>
        </p:nvPicPr>
        <p:blipFill>
          <a:blip r:embed="rId3"/>
          <a:stretch>
            <a:fillRect/>
          </a:stretch>
        </p:blipFill>
        <p:spPr>
          <a:xfrm>
            <a:off x="1237703" y="2717710"/>
            <a:ext cx="841420" cy="841420"/>
          </a:xfrm>
          <a:prstGeom prst="rect">
            <a:avLst/>
          </a:prstGeom>
        </p:spPr>
      </p:pic>
      <p:sp>
        <p:nvSpPr>
          <p:cNvPr id="19" name="TextBox 18">
            <a:extLst>
              <a:ext uri="{FF2B5EF4-FFF2-40B4-BE49-F238E27FC236}">
                <a16:creationId xmlns:a16="http://schemas.microsoft.com/office/drawing/2014/main" id="{0646FC5A-3C49-D1FC-575A-364407DC28BA}"/>
              </a:ext>
            </a:extLst>
          </p:cNvPr>
          <p:cNvSpPr txBox="1"/>
          <p:nvPr/>
        </p:nvSpPr>
        <p:spPr>
          <a:xfrm>
            <a:off x="686763" y="4209825"/>
            <a:ext cx="1936856" cy="861774"/>
          </a:xfrm>
          <a:prstGeom prst="rect">
            <a:avLst/>
          </a:prstGeom>
          <a:noFill/>
        </p:spPr>
        <p:txBody>
          <a:bodyPr wrap="square" lIns="121920" tIns="60960" rIns="121920" bIns="60960" rtlCol="0" anchor="t">
            <a:spAutoFit/>
          </a:bodyPr>
          <a:lstStyle/>
          <a:p>
            <a:pPr algn="ctr" defTabSz="1219170">
              <a:defRPr/>
            </a:pPr>
            <a:r>
              <a:rPr lang="en-US" sz="1200">
                <a:solidFill>
                  <a:srgbClr val="14532D"/>
                </a:solidFill>
                <a:latin typeface="DM Sans"/>
              </a:rPr>
              <a:t>Expert care and </a:t>
            </a:r>
            <a:r>
              <a:rPr lang="en-US" sz="1200" dirty="0">
                <a:solidFill>
                  <a:srgbClr val="14532D"/>
                </a:solidFill>
                <a:latin typeface="DM Sans"/>
              </a:rPr>
              <a:t>support to help you manage your diabetes with confidence</a:t>
            </a:r>
            <a:endParaRPr lang="en-GB" sz="1200">
              <a:solidFill>
                <a:srgbClr val="14532D"/>
              </a:solidFill>
              <a:latin typeface="DM Sans"/>
            </a:endParaRPr>
          </a:p>
        </p:txBody>
      </p:sp>
      <p:sp>
        <p:nvSpPr>
          <p:cNvPr id="20" name="TextBox 19">
            <a:extLst>
              <a:ext uri="{FF2B5EF4-FFF2-40B4-BE49-F238E27FC236}">
                <a16:creationId xmlns:a16="http://schemas.microsoft.com/office/drawing/2014/main" id="{E5AF414F-DAD6-AF87-4DB2-E8A0AE87926F}"/>
              </a:ext>
            </a:extLst>
          </p:cNvPr>
          <p:cNvSpPr txBox="1"/>
          <p:nvPr/>
        </p:nvSpPr>
        <p:spPr>
          <a:xfrm>
            <a:off x="3274075" y="3682682"/>
            <a:ext cx="2101376" cy="1405449"/>
          </a:xfrm>
          <a:prstGeom prst="rect">
            <a:avLst/>
          </a:prstGeom>
          <a:noFill/>
        </p:spPr>
        <p:txBody>
          <a:bodyPr wrap="square" lIns="121920" tIns="60960" rIns="121920" bIns="60960" rtlCol="0" anchor="t">
            <a:spAutoFit/>
          </a:bodyPr>
          <a:lstStyle/>
          <a:p>
            <a:pPr defTabSz="1219170">
              <a:defRPr/>
            </a:pPr>
            <a:r>
              <a:rPr lang="en-US" sz="2133" b="1" dirty="0">
                <a:solidFill>
                  <a:srgbClr val="199044"/>
                </a:solidFill>
                <a:latin typeface="DM Sans" pitchFamily="2" charset="0"/>
              </a:rPr>
              <a:t> </a:t>
            </a:r>
            <a:r>
              <a:rPr lang="en-US" sz="2133" b="1" dirty="0">
                <a:solidFill>
                  <a:srgbClr val="002060"/>
                </a:solidFill>
                <a:latin typeface="DM Sans" pitchFamily="2" charset="0"/>
              </a:rPr>
              <a:t>Hypertension</a:t>
            </a:r>
          </a:p>
          <a:p>
            <a:pPr defTabSz="1219170">
              <a:defRPr/>
            </a:pPr>
            <a:endParaRPr lang="en-US" sz="1400" dirty="0">
              <a:solidFill>
                <a:prstClr val="black"/>
              </a:solidFill>
              <a:latin typeface="DM Sans" pitchFamily="2" charset="0"/>
            </a:endParaRPr>
          </a:p>
          <a:p>
            <a:pPr algn="ctr" defTabSz="1219170">
              <a:defRPr/>
            </a:pPr>
            <a:r>
              <a:rPr lang="en-US" sz="1200" dirty="0">
                <a:solidFill>
                  <a:srgbClr val="032854"/>
                </a:solidFill>
                <a:latin typeface="DM Sans"/>
              </a:rPr>
              <a:t>Helping you take control of your blood pressure for a healthier heart and future</a:t>
            </a:r>
            <a:endParaRPr lang="en-GB" sz="1200" dirty="0">
              <a:solidFill>
                <a:srgbClr val="032854"/>
              </a:solidFill>
              <a:latin typeface="DM Sans"/>
            </a:endParaRPr>
          </a:p>
        </p:txBody>
      </p:sp>
      <p:sp>
        <p:nvSpPr>
          <p:cNvPr id="21" name="TextBox 20">
            <a:extLst>
              <a:ext uri="{FF2B5EF4-FFF2-40B4-BE49-F238E27FC236}">
                <a16:creationId xmlns:a16="http://schemas.microsoft.com/office/drawing/2014/main" id="{CA410C78-0554-0FA2-E5B9-67605F2AD1F0}"/>
              </a:ext>
            </a:extLst>
          </p:cNvPr>
          <p:cNvSpPr txBox="1"/>
          <p:nvPr/>
        </p:nvSpPr>
        <p:spPr>
          <a:xfrm>
            <a:off x="6356770" y="3665804"/>
            <a:ext cx="1722313" cy="1405449"/>
          </a:xfrm>
          <a:prstGeom prst="rect">
            <a:avLst/>
          </a:prstGeom>
          <a:noFill/>
        </p:spPr>
        <p:txBody>
          <a:bodyPr wrap="square" lIns="121920" tIns="60960" rIns="121920" bIns="60960" rtlCol="0" anchor="t">
            <a:spAutoFit/>
          </a:bodyPr>
          <a:lstStyle/>
          <a:p>
            <a:pPr algn="ctr" defTabSz="1219170">
              <a:defRPr/>
            </a:pPr>
            <a:r>
              <a:rPr lang="en-US" sz="2133" b="1" dirty="0">
                <a:solidFill>
                  <a:srgbClr val="199044"/>
                </a:solidFill>
                <a:latin typeface="DM Sans" pitchFamily="2" charset="0"/>
              </a:rPr>
              <a:t>  </a:t>
            </a:r>
            <a:r>
              <a:rPr lang="en-US" sz="2133" b="1" dirty="0">
                <a:solidFill>
                  <a:srgbClr val="7030A0"/>
                </a:solidFill>
                <a:latin typeface="DM Sans" pitchFamily="2" charset="0"/>
              </a:rPr>
              <a:t>Mind +</a:t>
            </a:r>
            <a:endParaRPr lang="en-US" sz="2400" dirty="0">
              <a:solidFill>
                <a:prstClr val="black"/>
              </a:solidFill>
              <a:latin typeface="Calibri" panose="020F0502020204030204"/>
            </a:endParaRPr>
          </a:p>
          <a:p>
            <a:pPr defTabSz="1219170">
              <a:defRPr/>
            </a:pPr>
            <a:endParaRPr lang="en-US" sz="1400" dirty="0">
              <a:solidFill>
                <a:srgbClr val="4B2886"/>
              </a:solidFill>
              <a:latin typeface="DM Sans" pitchFamily="2" charset="0"/>
            </a:endParaRPr>
          </a:p>
          <a:p>
            <a:pPr algn="ctr" defTabSz="1219170">
              <a:defRPr/>
            </a:pPr>
            <a:r>
              <a:rPr lang="en-US" sz="1200" dirty="0">
                <a:solidFill>
                  <a:srgbClr val="4B2886"/>
                </a:solidFill>
                <a:latin typeface="DM Sans"/>
              </a:rPr>
              <a:t>Support for your mental wellbeing so you can feel better, everyday </a:t>
            </a:r>
            <a:endParaRPr lang="en-GB" sz="1200" dirty="0">
              <a:solidFill>
                <a:srgbClr val="4B2886"/>
              </a:solidFill>
              <a:latin typeface="DM Sans"/>
            </a:endParaRPr>
          </a:p>
        </p:txBody>
      </p:sp>
      <p:sp>
        <p:nvSpPr>
          <p:cNvPr id="22" name="TextBox 21">
            <a:extLst>
              <a:ext uri="{FF2B5EF4-FFF2-40B4-BE49-F238E27FC236}">
                <a16:creationId xmlns:a16="http://schemas.microsoft.com/office/drawing/2014/main" id="{7714BECF-E112-76F6-DA1B-F1FF9C862E2E}"/>
              </a:ext>
            </a:extLst>
          </p:cNvPr>
          <p:cNvSpPr txBox="1"/>
          <p:nvPr/>
        </p:nvSpPr>
        <p:spPr>
          <a:xfrm>
            <a:off x="9131093" y="3684511"/>
            <a:ext cx="1816595" cy="1405449"/>
          </a:xfrm>
          <a:prstGeom prst="rect">
            <a:avLst/>
          </a:prstGeom>
          <a:noFill/>
        </p:spPr>
        <p:txBody>
          <a:bodyPr wrap="square" lIns="121920" tIns="60960" rIns="121920" bIns="60960" rtlCol="0" anchor="t">
            <a:spAutoFit/>
          </a:bodyPr>
          <a:lstStyle/>
          <a:p>
            <a:pPr algn="ctr" defTabSz="1219170">
              <a:defRPr/>
            </a:pPr>
            <a:r>
              <a:rPr lang="en-US" sz="2133" b="1" dirty="0">
                <a:solidFill>
                  <a:srgbClr val="199044"/>
                </a:solidFill>
                <a:latin typeface="DM Sans" pitchFamily="2" charset="0"/>
              </a:rPr>
              <a:t>  </a:t>
            </a:r>
            <a:r>
              <a:rPr lang="en-US" sz="2133" b="1" dirty="0">
                <a:solidFill>
                  <a:srgbClr val="006666"/>
                </a:solidFill>
                <a:latin typeface="DM Sans" pitchFamily="2" charset="0"/>
              </a:rPr>
              <a:t>Sleep Well</a:t>
            </a:r>
            <a:endParaRPr lang="en-US" sz="2400">
              <a:solidFill>
                <a:prstClr val="black"/>
              </a:solidFill>
              <a:latin typeface="Calibri" panose="020F0502020204030204"/>
            </a:endParaRPr>
          </a:p>
          <a:p>
            <a:pPr defTabSz="1219170">
              <a:defRPr/>
            </a:pPr>
            <a:endParaRPr lang="en-US" sz="1400" dirty="0">
              <a:solidFill>
                <a:srgbClr val="047679"/>
              </a:solidFill>
              <a:latin typeface="DM Sans" pitchFamily="2" charset="0"/>
            </a:endParaRPr>
          </a:p>
          <a:p>
            <a:pPr algn="ctr" defTabSz="1219170">
              <a:defRPr/>
            </a:pPr>
            <a:r>
              <a:rPr lang="en-US" sz="1200" dirty="0">
                <a:solidFill>
                  <a:srgbClr val="047679"/>
                </a:solidFill>
                <a:latin typeface="DM Sans"/>
              </a:rPr>
              <a:t>Better sleep for better days. We’re here to help you rest and recharge</a:t>
            </a:r>
            <a:endParaRPr lang="en-GB" sz="1200" dirty="0">
              <a:solidFill>
                <a:srgbClr val="047679"/>
              </a:solidFill>
              <a:latin typeface="DM Sans"/>
            </a:endParaRPr>
          </a:p>
        </p:txBody>
      </p:sp>
      <p:pic>
        <p:nvPicPr>
          <p:cNvPr id="24" name="Picture 23" descr="A blue circle with a heart and pulse line&#10;&#10;AI-generated content may be incorrect.">
            <a:extLst>
              <a:ext uri="{FF2B5EF4-FFF2-40B4-BE49-F238E27FC236}">
                <a16:creationId xmlns:a16="http://schemas.microsoft.com/office/drawing/2014/main" id="{E3BC370F-0DDC-5D02-1EF3-7C9E4652F4CC}"/>
              </a:ext>
            </a:extLst>
          </p:cNvPr>
          <p:cNvPicPr>
            <a:picLocks noChangeAspect="1"/>
          </p:cNvPicPr>
          <p:nvPr/>
        </p:nvPicPr>
        <p:blipFill>
          <a:blip r:embed="rId4"/>
          <a:stretch>
            <a:fillRect/>
          </a:stretch>
        </p:blipFill>
        <p:spPr>
          <a:xfrm>
            <a:off x="3880525" y="2715810"/>
            <a:ext cx="856535" cy="856535"/>
          </a:xfrm>
          <a:prstGeom prst="rect">
            <a:avLst/>
          </a:prstGeom>
        </p:spPr>
      </p:pic>
      <p:pic>
        <p:nvPicPr>
          <p:cNvPr id="26" name="Picture 25" descr="A purple circle with a head and a plus sign&#10;&#10;AI-generated content may be incorrect.">
            <a:extLst>
              <a:ext uri="{FF2B5EF4-FFF2-40B4-BE49-F238E27FC236}">
                <a16:creationId xmlns:a16="http://schemas.microsoft.com/office/drawing/2014/main" id="{AEE782F2-26E4-3864-E3E3-FC5FE9003B85}"/>
              </a:ext>
            </a:extLst>
          </p:cNvPr>
          <p:cNvPicPr>
            <a:picLocks noChangeAspect="1"/>
          </p:cNvPicPr>
          <p:nvPr/>
        </p:nvPicPr>
        <p:blipFill>
          <a:blip r:embed="rId5"/>
          <a:stretch>
            <a:fillRect/>
          </a:stretch>
        </p:blipFill>
        <p:spPr>
          <a:xfrm>
            <a:off x="6820111" y="2784851"/>
            <a:ext cx="795628" cy="795628"/>
          </a:xfrm>
          <a:prstGeom prst="rect">
            <a:avLst/>
          </a:prstGeom>
        </p:spPr>
      </p:pic>
      <p:pic>
        <p:nvPicPr>
          <p:cNvPr id="28" name="Picture 27">
            <a:extLst>
              <a:ext uri="{FF2B5EF4-FFF2-40B4-BE49-F238E27FC236}">
                <a16:creationId xmlns:a16="http://schemas.microsoft.com/office/drawing/2014/main" id="{8561E12F-2585-6A07-E914-C695B3D412FE}"/>
              </a:ext>
            </a:extLst>
          </p:cNvPr>
          <p:cNvPicPr>
            <a:picLocks noChangeAspect="1"/>
          </p:cNvPicPr>
          <p:nvPr/>
        </p:nvPicPr>
        <p:blipFill>
          <a:blip r:embed="rId6"/>
          <a:stretch>
            <a:fillRect/>
          </a:stretch>
        </p:blipFill>
        <p:spPr>
          <a:xfrm>
            <a:off x="9653887" y="2727500"/>
            <a:ext cx="815563" cy="815563"/>
          </a:xfrm>
          <a:prstGeom prst="rect">
            <a:avLst/>
          </a:prstGeom>
        </p:spPr>
      </p:pic>
      <p:sp>
        <p:nvSpPr>
          <p:cNvPr id="12" name="TextBox 11">
            <a:extLst>
              <a:ext uri="{FF2B5EF4-FFF2-40B4-BE49-F238E27FC236}">
                <a16:creationId xmlns:a16="http://schemas.microsoft.com/office/drawing/2014/main" id="{A6A8EB7A-DC8A-2D1B-24EB-BC8B0384D638}"/>
              </a:ext>
            </a:extLst>
          </p:cNvPr>
          <p:cNvSpPr txBox="1"/>
          <p:nvPr/>
        </p:nvSpPr>
        <p:spPr>
          <a:xfrm>
            <a:off x="946953" y="3677621"/>
            <a:ext cx="1738543" cy="820674"/>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1219170">
              <a:defRPr/>
            </a:pPr>
            <a:r>
              <a:rPr lang="en-US" sz="2133" b="1" dirty="0">
                <a:solidFill>
                  <a:srgbClr val="14532D"/>
                </a:solidFill>
                <a:latin typeface="DM Sans"/>
              </a:rPr>
              <a:t>Diabetes</a:t>
            </a:r>
            <a:endParaRPr lang="en-GB" sz="2400" dirty="0">
              <a:solidFill>
                <a:srgbClr val="14532D"/>
              </a:solidFill>
              <a:latin typeface="Calibri" panose="020F0502020204030204"/>
            </a:endParaRPr>
          </a:p>
          <a:p>
            <a:pPr algn="ctr" defTabSz="1219170">
              <a:defRPr/>
            </a:pPr>
            <a:endParaRPr lang="en-GB" sz="2400" dirty="0">
              <a:solidFill>
                <a:prstClr val="black"/>
              </a:solidFill>
              <a:latin typeface="Calibri" panose="020F0502020204030204"/>
            </a:endParaRPr>
          </a:p>
        </p:txBody>
      </p:sp>
      <p:sp>
        <p:nvSpPr>
          <p:cNvPr id="5" name="Rectangle: Rounded Corners 4">
            <a:extLst>
              <a:ext uri="{FF2B5EF4-FFF2-40B4-BE49-F238E27FC236}">
                <a16:creationId xmlns:a16="http://schemas.microsoft.com/office/drawing/2014/main" id="{1BD7E920-C330-B612-91D0-4C18D666B706}"/>
              </a:ext>
            </a:extLst>
          </p:cNvPr>
          <p:cNvSpPr/>
          <p:nvPr/>
        </p:nvSpPr>
        <p:spPr>
          <a:xfrm>
            <a:off x="217571" y="781724"/>
            <a:ext cx="4952979" cy="1074056"/>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594" indent="-228594" defTabSz="1219170">
              <a:buFont typeface="Arial" panose="020B0604020202020204" pitchFamily="34" charset="0"/>
              <a:buChar char="•"/>
              <a:defRPr/>
            </a:pPr>
            <a:r>
              <a:rPr lang="en-GB" sz="1333" b="1" dirty="0">
                <a:solidFill>
                  <a:srgbClr val="199044"/>
                </a:solidFill>
                <a:latin typeface="DM Sans" pitchFamily="2" charset="0"/>
              </a:rPr>
              <a:t>Two Consultant appointments (video)</a:t>
            </a:r>
          </a:p>
          <a:p>
            <a:pPr marL="228594" indent="-228594" defTabSz="1219170">
              <a:buFont typeface="Arial" panose="020B0604020202020204" pitchFamily="34" charset="0"/>
              <a:buChar char="•"/>
              <a:defRPr/>
            </a:pPr>
            <a:r>
              <a:rPr lang="en-GB" sz="1333" b="1" dirty="0">
                <a:solidFill>
                  <a:srgbClr val="199044"/>
                </a:solidFill>
                <a:latin typeface="DM Sans" pitchFamily="2" charset="0"/>
              </a:rPr>
              <a:t>Two pharmacist reviews (in-person)</a:t>
            </a:r>
          </a:p>
          <a:p>
            <a:pPr marL="228594" indent="-228594" defTabSz="1219170">
              <a:buFont typeface="Arial" panose="020B0604020202020204" pitchFamily="34" charset="0"/>
              <a:buChar char="•"/>
              <a:defRPr/>
            </a:pPr>
            <a:r>
              <a:rPr lang="en-GB" sz="1333" b="1" dirty="0">
                <a:solidFill>
                  <a:srgbClr val="199044"/>
                </a:solidFill>
                <a:latin typeface="DM Sans" pitchFamily="2" charset="0"/>
              </a:rPr>
              <a:t>Lifestyle change support with premium</a:t>
            </a:r>
          </a:p>
          <a:p>
            <a:pPr marL="228594" indent="-228594" defTabSz="1219170">
              <a:buFont typeface="Arial" panose="020B0604020202020204" pitchFamily="34" charset="0"/>
              <a:buChar char="•"/>
              <a:defRPr/>
            </a:pPr>
            <a:r>
              <a:rPr lang="en-GB" sz="1333" b="1" dirty="0">
                <a:solidFill>
                  <a:srgbClr val="199044"/>
                </a:solidFill>
                <a:latin typeface="DM Sans" pitchFamily="2" charset="0"/>
              </a:rPr>
              <a:t>Subscription price varies dependant on plan</a:t>
            </a:r>
          </a:p>
        </p:txBody>
      </p:sp>
    </p:spTree>
    <p:extLst>
      <p:ext uri="{BB962C8B-B14F-4D97-AF65-F5344CB8AC3E}">
        <p14:creationId xmlns:p14="http://schemas.microsoft.com/office/powerpoint/2010/main" val="2809423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0"/>
          <p:cNvSpPr/>
          <p:nvPr/>
        </p:nvSpPr>
        <p:spPr>
          <a:xfrm>
            <a:off x="635001" y="1254176"/>
            <a:ext cx="5899532" cy="225425"/>
          </a:xfrm>
          <a:prstGeom prst="rect">
            <a:avLst/>
          </a:prstGeom>
          <a:noFill/>
          <a:ln/>
        </p:spPr>
        <p:txBody>
          <a:bodyPr wrap="square" lIns="16933" tIns="16933" rIns="16933" bIns="16933" rtlCol="0" anchor="t">
            <a:noAutofit/>
          </a:bodyPr>
          <a:lstStyle/>
          <a:p>
            <a:pPr defTabSz="609585"/>
            <a:r>
              <a:rPr lang="en-US" sz="2400" b="1" kern="0" spc="96" dirty="0">
                <a:solidFill>
                  <a:srgbClr val="28E46D"/>
                </a:solidFill>
                <a:latin typeface="DM Sans" pitchFamily="34" charset="0"/>
                <a:ea typeface="DM Sans" pitchFamily="34" charset="-122"/>
                <a:cs typeface="DM Sans" pitchFamily="34" charset="-120"/>
              </a:rPr>
              <a:t>GP PLAN</a:t>
            </a:r>
            <a:endParaRPr lang="en-US" sz="2400" b="1" dirty="0">
              <a:solidFill>
                <a:prstClr val="black"/>
              </a:solidFill>
              <a:latin typeface="Calibri" panose="020F0502020204030204"/>
            </a:endParaRPr>
          </a:p>
        </p:txBody>
      </p:sp>
      <p:sp>
        <p:nvSpPr>
          <p:cNvPr id="3" name="Text 1"/>
          <p:cNvSpPr/>
          <p:nvPr/>
        </p:nvSpPr>
        <p:spPr>
          <a:xfrm>
            <a:off x="635001" y="1606601"/>
            <a:ext cx="5899532" cy="901700"/>
          </a:xfrm>
          <a:prstGeom prst="rect">
            <a:avLst/>
          </a:prstGeom>
          <a:noFill/>
          <a:ln/>
        </p:spPr>
        <p:txBody>
          <a:bodyPr wrap="square" lIns="16933" tIns="16933" rIns="16933" bIns="16933" rtlCol="0" anchor="t">
            <a:normAutofit fontScale="92500"/>
          </a:bodyPr>
          <a:lstStyle/>
          <a:p>
            <a:pPr defTabSz="609585">
              <a:lnSpc>
                <a:spcPct val="115000"/>
              </a:lnSpc>
            </a:pPr>
            <a:r>
              <a:rPr lang="en-US" sz="3000" b="1" kern="0" spc="-60" dirty="0">
                <a:solidFill>
                  <a:srgbClr val="003A23"/>
                </a:solidFill>
                <a:latin typeface="DM Sans" pitchFamily="34" charset="0"/>
                <a:ea typeface="DM Sans" pitchFamily="34" charset="-122"/>
                <a:cs typeface="DM Sans" pitchFamily="34" charset="-120"/>
              </a:rPr>
              <a:t>Same-day GP access, every time</a:t>
            </a:r>
          </a:p>
          <a:p>
            <a:pPr defTabSz="609585">
              <a:lnSpc>
                <a:spcPct val="115000"/>
              </a:lnSpc>
            </a:pPr>
            <a:r>
              <a:rPr lang="en-US" sz="1467" b="1" kern="0" spc="-60" dirty="0">
                <a:solidFill>
                  <a:srgbClr val="003A23"/>
                </a:solidFill>
                <a:latin typeface="DM Sans" pitchFamily="34" charset="0"/>
              </a:rPr>
              <a:t>£20 per  month</a:t>
            </a:r>
          </a:p>
          <a:p>
            <a:pPr defTabSz="609585">
              <a:lnSpc>
                <a:spcPct val="115000"/>
              </a:lnSpc>
            </a:pPr>
            <a:endParaRPr lang="en-US" sz="1467" dirty="0">
              <a:solidFill>
                <a:prstClr val="black"/>
              </a:solidFill>
              <a:latin typeface="Calibri" panose="020F0502020204030204"/>
            </a:endParaRPr>
          </a:p>
        </p:txBody>
      </p:sp>
      <p:sp>
        <p:nvSpPr>
          <p:cNvPr id="4" name="Shape 2"/>
          <p:cNvSpPr/>
          <p:nvPr/>
        </p:nvSpPr>
        <p:spPr>
          <a:xfrm>
            <a:off x="635000" y="2686100"/>
            <a:ext cx="304800" cy="25400"/>
          </a:xfrm>
          <a:prstGeom prst="roundRect">
            <a:avLst>
              <a:gd name="adj" fmla="val 50000"/>
            </a:avLst>
          </a:prstGeom>
          <a:solidFill>
            <a:srgbClr val="28E46D"/>
          </a:solidFill>
          <a:ln/>
        </p:spPr>
        <p:txBody>
          <a:bodyPr/>
          <a:lstStyle/>
          <a:p>
            <a:pPr defTabSz="609585"/>
            <a:endParaRPr lang="en-GB" sz="1200">
              <a:solidFill>
                <a:prstClr val="black"/>
              </a:solidFill>
              <a:latin typeface="Calibri" panose="020F0502020204030204"/>
            </a:endParaRPr>
          </a:p>
        </p:txBody>
      </p:sp>
      <p:sp>
        <p:nvSpPr>
          <p:cNvPr id="5" name="Text 3"/>
          <p:cNvSpPr/>
          <p:nvPr/>
        </p:nvSpPr>
        <p:spPr>
          <a:xfrm>
            <a:off x="635001" y="2982141"/>
            <a:ext cx="5322745" cy="1262785"/>
          </a:xfrm>
          <a:prstGeom prst="rect">
            <a:avLst/>
          </a:prstGeom>
          <a:noFill/>
          <a:ln/>
        </p:spPr>
        <p:txBody>
          <a:bodyPr wrap="square" lIns="16933" tIns="16933" rIns="16933" bIns="16933" rtlCol="0" anchor="t">
            <a:normAutofit/>
          </a:bodyPr>
          <a:lstStyle/>
          <a:p>
            <a:pPr defTabSz="609585">
              <a:lnSpc>
                <a:spcPct val="155000"/>
              </a:lnSpc>
            </a:pPr>
            <a:r>
              <a:rPr lang="en-US" sz="1300" dirty="0">
                <a:solidFill>
                  <a:srgbClr val="003A23"/>
                </a:solidFill>
                <a:latin typeface="DM Sans" pitchFamily="34" charset="0"/>
                <a:ea typeface="DM Sans" pitchFamily="34" charset="-122"/>
                <a:cs typeface="DM Sans" pitchFamily="34" charset="-120"/>
              </a:rPr>
              <a:t>GP Plan enables members to access Same Day GP Consultations. The plan benefits from 6 appointments per year with the added peace of mind that you get to see the same GP each time.</a:t>
            </a:r>
            <a:endParaRPr lang="en-US" sz="1300">
              <a:solidFill>
                <a:prstClr val="black"/>
              </a:solidFill>
              <a:latin typeface="Calibri" panose="020F0502020204030204"/>
              <a:ea typeface="Calibri" panose="020F0502020204030204"/>
              <a:cs typeface="Calibri" panose="020F0502020204030204"/>
            </a:endParaRPr>
          </a:p>
        </p:txBody>
      </p:sp>
      <p:sp>
        <p:nvSpPr>
          <p:cNvPr id="6" name="Text 4"/>
          <p:cNvSpPr/>
          <p:nvPr/>
        </p:nvSpPr>
        <p:spPr>
          <a:xfrm>
            <a:off x="519431" y="4448125"/>
            <a:ext cx="6228303" cy="1502272"/>
          </a:xfrm>
          <a:prstGeom prst="rect">
            <a:avLst/>
          </a:prstGeom>
          <a:noFill/>
          <a:ln/>
        </p:spPr>
        <p:txBody>
          <a:bodyPr wrap="square" lIns="16933" tIns="16933" rIns="16933" bIns="16933" rtlCol="0" anchor="t">
            <a:normAutofit/>
          </a:bodyPr>
          <a:lstStyle/>
          <a:p>
            <a:pPr marL="228594" indent="-228594" defTabSz="609585">
              <a:lnSpc>
                <a:spcPct val="150000"/>
              </a:lnSpc>
              <a:buFont typeface="Arial"/>
              <a:buChar char="•"/>
            </a:pPr>
            <a:r>
              <a:rPr lang="en-US" sz="1300" dirty="0">
                <a:solidFill>
                  <a:srgbClr val="003A23"/>
                </a:solidFill>
                <a:latin typeface="DM Sans" pitchFamily="34" charset="0"/>
                <a:ea typeface="DM Sans" pitchFamily="34" charset="-122"/>
                <a:cs typeface="DM Sans" pitchFamily="34" charset="-120"/>
              </a:rPr>
              <a:t>6 appointments per year</a:t>
            </a:r>
          </a:p>
          <a:p>
            <a:pPr marL="228594" indent="-228594" defTabSz="609585">
              <a:lnSpc>
                <a:spcPct val="150000"/>
              </a:lnSpc>
              <a:buFont typeface="Arial"/>
              <a:buChar char="•"/>
            </a:pPr>
            <a:r>
              <a:rPr lang="en-US" sz="1300" b="1" dirty="0">
                <a:solidFill>
                  <a:srgbClr val="70AD47"/>
                </a:solidFill>
                <a:latin typeface="DM Sans" pitchFamily="2" charset="0"/>
                <a:ea typeface="Calibri" panose="020F0502020204030204"/>
                <a:cs typeface="Calibri" panose="020F0502020204030204"/>
              </a:rPr>
              <a:t>Virty GPs can provide in-person consultation at suitable pharmacy sites</a:t>
            </a:r>
          </a:p>
          <a:p>
            <a:pPr marL="228594" indent="-228594" defTabSz="609585">
              <a:lnSpc>
                <a:spcPct val="150000"/>
              </a:lnSpc>
              <a:buFont typeface="Arial"/>
              <a:buChar char="•"/>
            </a:pPr>
            <a:r>
              <a:rPr lang="en-US" sz="1300" dirty="0">
                <a:solidFill>
                  <a:srgbClr val="003A23"/>
                </a:solidFill>
                <a:latin typeface="DM Sans" pitchFamily="34" charset="0"/>
                <a:ea typeface="DM Sans" pitchFamily="34" charset="-122"/>
                <a:cs typeface="DM Sans" pitchFamily="34" charset="-120"/>
              </a:rPr>
              <a:t>Prescriptions and written treatments plans are included in this plan</a:t>
            </a:r>
            <a:endParaRPr lang="en-US" sz="1300" dirty="0">
              <a:solidFill>
                <a:prstClr val="black"/>
              </a:solidFill>
              <a:latin typeface="Calibri" panose="020F0502020204030204"/>
              <a:ea typeface="Calibri" panose="020F0502020204030204"/>
              <a:cs typeface="Calibri" panose="020F0502020204030204"/>
            </a:endParaRPr>
          </a:p>
          <a:p>
            <a:pPr marL="228594" indent="-228594" defTabSz="609585">
              <a:lnSpc>
                <a:spcPct val="150000"/>
              </a:lnSpc>
              <a:buFont typeface="Arial"/>
              <a:buChar char="•"/>
            </a:pPr>
            <a:r>
              <a:rPr lang="en-US" sz="1300" dirty="0">
                <a:solidFill>
                  <a:srgbClr val="003A23"/>
                </a:solidFill>
                <a:latin typeface="DM Sans" pitchFamily="34" charset="0"/>
                <a:ea typeface="DM Sans" pitchFamily="34" charset="-122"/>
                <a:cs typeface="DM Sans" pitchFamily="34" charset="-120"/>
              </a:rPr>
              <a:t>The added peace of mind that you get to see the same GP each time</a:t>
            </a:r>
            <a:endParaRPr lang="en-US" sz="1300" dirty="0">
              <a:solidFill>
                <a:prstClr val="black"/>
              </a:solidFill>
              <a:latin typeface="Calibri" panose="020F0502020204030204"/>
              <a:ea typeface="Calibri" panose="020F0502020204030204"/>
              <a:cs typeface="Calibri" panose="020F0502020204030204"/>
            </a:endParaRPr>
          </a:p>
        </p:txBody>
      </p:sp>
      <p:sp>
        <p:nvSpPr>
          <p:cNvPr id="7" name="Shape 5"/>
          <p:cNvSpPr/>
          <p:nvPr/>
        </p:nvSpPr>
        <p:spPr>
          <a:xfrm>
            <a:off x="6870701" y="2131071"/>
            <a:ext cx="4686300" cy="1450331"/>
          </a:xfrm>
          <a:prstGeom prst="roundRect">
            <a:avLst>
              <a:gd name="adj" fmla="val 12259"/>
            </a:avLst>
          </a:prstGeom>
          <a:solidFill>
            <a:srgbClr val="003A23"/>
          </a:solidFill>
          <a:ln/>
        </p:spPr>
        <p:txBody>
          <a:bodyPr/>
          <a:lstStyle/>
          <a:p>
            <a:pPr defTabSz="609585"/>
            <a:endParaRPr lang="en-GB" sz="1200">
              <a:solidFill>
                <a:prstClr val="black"/>
              </a:solidFill>
              <a:latin typeface="Calibri" panose="020F0502020204030204"/>
            </a:endParaRPr>
          </a:p>
        </p:txBody>
      </p:sp>
      <p:sp>
        <p:nvSpPr>
          <p:cNvPr id="8" name="Text 6"/>
          <p:cNvSpPr/>
          <p:nvPr/>
        </p:nvSpPr>
        <p:spPr>
          <a:xfrm>
            <a:off x="7140512" y="2461271"/>
            <a:ext cx="4146677" cy="533400"/>
          </a:xfrm>
          <a:prstGeom prst="rect">
            <a:avLst/>
          </a:prstGeom>
          <a:noFill/>
          <a:ln/>
        </p:spPr>
        <p:txBody>
          <a:bodyPr wrap="square" lIns="16933" tIns="16933" rIns="16933" bIns="16933" rtlCol="0" anchor="t">
            <a:normAutofit fontScale="92500" lnSpcReduction="20000"/>
          </a:bodyPr>
          <a:lstStyle/>
          <a:p>
            <a:pPr algn="ctr" defTabSz="609585"/>
            <a:r>
              <a:rPr lang="en-US" sz="4000" b="1" kern="0" spc="-120" dirty="0">
                <a:solidFill>
                  <a:srgbClr val="28E46D"/>
                </a:solidFill>
                <a:latin typeface="DM Sans" pitchFamily="34" charset="0"/>
                <a:ea typeface="DM Sans" pitchFamily="34" charset="-122"/>
                <a:cs typeface="DM Sans" pitchFamily="34" charset="-120"/>
              </a:rPr>
              <a:t>6</a:t>
            </a:r>
            <a:endParaRPr lang="en-US" sz="4000" dirty="0">
              <a:solidFill>
                <a:prstClr val="black"/>
              </a:solidFill>
              <a:latin typeface="Calibri" panose="020F0502020204030204"/>
            </a:endParaRPr>
          </a:p>
        </p:txBody>
      </p:sp>
      <p:sp>
        <p:nvSpPr>
          <p:cNvPr id="9" name="Text 7"/>
          <p:cNvSpPr/>
          <p:nvPr/>
        </p:nvSpPr>
        <p:spPr>
          <a:xfrm>
            <a:off x="7140512" y="3020071"/>
            <a:ext cx="4146677" cy="256531"/>
          </a:xfrm>
          <a:prstGeom prst="rect">
            <a:avLst/>
          </a:prstGeom>
          <a:noFill/>
          <a:ln/>
        </p:spPr>
        <p:txBody>
          <a:bodyPr wrap="square" lIns="16933" tIns="16933" rIns="16933" bIns="16933" rtlCol="0" anchor="t">
            <a:normAutofit fontScale="92500" lnSpcReduction="20000"/>
          </a:bodyPr>
          <a:lstStyle/>
          <a:p>
            <a:pPr algn="ctr" defTabSz="609585">
              <a:lnSpc>
                <a:spcPct val="130000"/>
              </a:lnSpc>
            </a:pPr>
            <a:r>
              <a:rPr lang="en-US" sz="1400" dirty="0">
                <a:solidFill>
                  <a:srgbClr val="FFFFFF">
                    <a:alpha val="75000"/>
                  </a:srgbClr>
                </a:solidFill>
                <a:latin typeface="DM Sans" pitchFamily="34" charset="0"/>
                <a:ea typeface="DM Sans" pitchFamily="34" charset="-122"/>
                <a:cs typeface="DM Sans" pitchFamily="34" charset="-120"/>
              </a:rPr>
              <a:t>appointments per year</a:t>
            </a:r>
            <a:endParaRPr lang="en-US" sz="1400" dirty="0">
              <a:solidFill>
                <a:prstClr val="black"/>
              </a:solidFill>
              <a:latin typeface="Calibri" panose="020F0502020204030204"/>
            </a:endParaRPr>
          </a:p>
        </p:txBody>
      </p:sp>
      <p:sp>
        <p:nvSpPr>
          <p:cNvPr id="10" name="Shape 8"/>
          <p:cNvSpPr/>
          <p:nvPr/>
        </p:nvSpPr>
        <p:spPr>
          <a:xfrm>
            <a:off x="6865015" y="3714561"/>
            <a:ext cx="2266951" cy="1056631"/>
          </a:xfrm>
          <a:prstGeom prst="roundRect">
            <a:avLst>
              <a:gd name="adj" fmla="val 14423"/>
            </a:avLst>
          </a:prstGeom>
          <a:solidFill>
            <a:srgbClr val="FFFFFF"/>
          </a:solidFill>
          <a:ln/>
          <a:effectLst>
            <a:outerShdw blurRad="114300" dist="19050" dir="5400000" algn="bl" rotWithShape="0">
              <a:srgbClr val="003A23">
                <a:alpha val="9000"/>
              </a:srgbClr>
            </a:outerShdw>
          </a:effectLst>
        </p:spPr>
        <p:txBody>
          <a:bodyPr/>
          <a:lstStyle/>
          <a:p>
            <a:pPr defTabSz="609585"/>
            <a:endParaRPr lang="en-GB" sz="1200">
              <a:solidFill>
                <a:prstClr val="black"/>
              </a:solidFill>
              <a:latin typeface="Calibri" panose="020F0502020204030204"/>
            </a:endParaRPr>
          </a:p>
        </p:txBody>
      </p:sp>
      <p:sp>
        <p:nvSpPr>
          <p:cNvPr id="11" name="Text 9"/>
          <p:cNvSpPr/>
          <p:nvPr/>
        </p:nvSpPr>
        <p:spPr>
          <a:xfrm>
            <a:off x="6993669" y="3962400"/>
            <a:ext cx="2021015" cy="355600"/>
          </a:xfrm>
          <a:prstGeom prst="rect">
            <a:avLst/>
          </a:prstGeom>
          <a:noFill/>
          <a:ln/>
        </p:spPr>
        <p:txBody>
          <a:bodyPr wrap="square" lIns="16933" tIns="16933" rIns="16933" bIns="16933" rtlCol="0" anchor="t">
            <a:normAutofit fontScale="92500" lnSpcReduction="20000"/>
          </a:bodyPr>
          <a:lstStyle/>
          <a:p>
            <a:pPr algn="ctr" defTabSz="609585"/>
            <a:r>
              <a:rPr lang="en-US" sz="2600" b="1" dirty="0">
                <a:solidFill>
                  <a:srgbClr val="003A23"/>
                </a:solidFill>
                <a:latin typeface="DM Sans" pitchFamily="34" charset="0"/>
                <a:ea typeface="DM Sans" pitchFamily="34" charset="-122"/>
                <a:cs typeface="DM Sans" pitchFamily="34" charset="-120"/>
              </a:rPr>
              <a:t>Same</a:t>
            </a:r>
            <a:endParaRPr lang="en-US" sz="2600" dirty="0">
              <a:solidFill>
                <a:prstClr val="black"/>
              </a:solidFill>
              <a:latin typeface="Calibri" panose="020F0502020204030204"/>
            </a:endParaRPr>
          </a:p>
        </p:txBody>
      </p:sp>
      <p:sp>
        <p:nvSpPr>
          <p:cNvPr id="12" name="Text 10"/>
          <p:cNvSpPr/>
          <p:nvPr/>
        </p:nvSpPr>
        <p:spPr>
          <a:xfrm>
            <a:off x="6993669" y="4330700"/>
            <a:ext cx="2021015" cy="256531"/>
          </a:xfrm>
          <a:prstGeom prst="rect">
            <a:avLst/>
          </a:prstGeom>
          <a:noFill/>
          <a:ln/>
        </p:spPr>
        <p:txBody>
          <a:bodyPr wrap="square" lIns="16933" tIns="16933" rIns="16933" bIns="16933" rtlCol="0" anchor="t">
            <a:normAutofit fontScale="92500" lnSpcReduction="20000"/>
          </a:bodyPr>
          <a:lstStyle/>
          <a:p>
            <a:pPr algn="ctr" defTabSz="609585">
              <a:lnSpc>
                <a:spcPct val="130000"/>
              </a:lnSpc>
            </a:pPr>
            <a:r>
              <a:rPr lang="en-US" sz="1400" dirty="0">
                <a:solidFill>
                  <a:srgbClr val="003A23">
                    <a:alpha val="65000"/>
                  </a:srgbClr>
                </a:solidFill>
                <a:latin typeface="DM Sans" pitchFamily="34" charset="0"/>
                <a:ea typeface="DM Sans" pitchFamily="34" charset="-122"/>
                <a:cs typeface="DM Sans" pitchFamily="34" charset="-120"/>
              </a:rPr>
              <a:t>GP every time</a:t>
            </a:r>
            <a:endParaRPr lang="en-US" sz="1400" dirty="0">
              <a:solidFill>
                <a:prstClr val="black"/>
              </a:solidFill>
              <a:latin typeface="Calibri" panose="020F0502020204030204"/>
            </a:endParaRPr>
          </a:p>
        </p:txBody>
      </p:sp>
      <p:sp>
        <p:nvSpPr>
          <p:cNvPr id="13" name="Shape 11"/>
          <p:cNvSpPr/>
          <p:nvPr/>
        </p:nvSpPr>
        <p:spPr>
          <a:xfrm>
            <a:off x="9290051" y="3733801"/>
            <a:ext cx="2266951" cy="1056631"/>
          </a:xfrm>
          <a:prstGeom prst="roundRect">
            <a:avLst>
              <a:gd name="adj" fmla="val 14423"/>
            </a:avLst>
          </a:prstGeom>
          <a:solidFill>
            <a:srgbClr val="28E46D"/>
          </a:solidFill>
          <a:ln/>
        </p:spPr>
        <p:txBody>
          <a:bodyPr/>
          <a:lstStyle/>
          <a:p>
            <a:pPr defTabSz="609585"/>
            <a:endParaRPr lang="en-GB" sz="1200">
              <a:solidFill>
                <a:prstClr val="black"/>
              </a:solidFill>
              <a:latin typeface="Calibri" panose="020F0502020204030204"/>
            </a:endParaRPr>
          </a:p>
        </p:txBody>
      </p:sp>
      <p:sp>
        <p:nvSpPr>
          <p:cNvPr id="15" name="Text 13"/>
          <p:cNvSpPr/>
          <p:nvPr/>
        </p:nvSpPr>
        <p:spPr>
          <a:xfrm>
            <a:off x="9407333" y="4114611"/>
            <a:ext cx="2021015" cy="256531"/>
          </a:xfrm>
          <a:prstGeom prst="rect">
            <a:avLst/>
          </a:prstGeom>
          <a:noFill/>
          <a:ln/>
        </p:spPr>
        <p:txBody>
          <a:bodyPr wrap="square" lIns="16933" tIns="16933" rIns="16933" bIns="16933" rtlCol="0" anchor="t">
            <a:normAutofit fontScale="92500" lnSpcReduction="20000"/>
          </a:bodyPr>
          <a:lstStyle/>
          <a:p>
            <a:pPr algn="ctr" defTabSz="609585">
              <a:lnSpc>
                <a:spcPct val="130000"/>
              </a:lnSpc>
            </a:pPr>
            <a:r>
              <a:rPr lang="en-US" sz="1400" dirty="0">
                <a:solidFill>
                  <a:srgbClr val="003A23"/>
                </a:solidFill>
                <a:latin typeface="DM Sans" pitchFamily="34" charset="0"/>
                <a:ea typeface="DM Sans" pitchFamily="34" charset="-122"/>
                <a:cs typeface="DM Sans" pitchFamily="34" charset="-120"/>
              </a:rPr>
              <a:t>Prescription fee included</a:t>
            </a:r>
            <a:endParaRPr lang="en-US" sz="1400" dirty="0">
              <a:solidFill>
                <a:prstClr val="black"/>
              </a:solidFill>
              <a:latin typeface="Calibri" panose="020F0502020204030204"/>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3A23"/>
        </a:solidFill>
        <a:effectLst/>
      </p:bgPr>
    </p:bg>
    <p:spTree>
      <p:nvGrpSpPr>
        <p:cNvPr id="1" name=""/>
        <p:cNvGrpSpPr/>
        <p:nvPr/>
      </p:nvGrpSpPr>
      <p:grpSpPr>
        <a:xfrm>
          <a:off x="0" y="0"/>
          <a:ext cx="0" cy="0"/>
          <a:chOff x="0" y="0"/>
          <a:chExt cx="0" cy="0"/>
        </a:xfrm>
      </p:grpSpPr>
      <p:sp>
        <p:nvSpPr>
          <p:cNvPr id="2" name="Text 0"/>
          <p:cNvSpPr/>
          <p:nvPr/>
        </p:nvSpPr>
        <p:spPr>
          <a:xfrm>
            <a:off x="635001" y="1770064"/>
            <a:ext cx="5899532" cy="225425"/>
          </a:xfrm>
          <a:prstGeom prst="rect">
            <a:avLst/>
          </a:prstGeom>
          <a:noFill/>
          <a:ln/>
        </p:spPr>
        <p:txBody>
          <a:bodyPr wrap="square" lIns="16933" tIns="16933" rIns="16933" bIns="16933" rtlCol="0" anchor="t">
            <a:normAutofit/>
          </a:bodyPr>
          <a:lstStyle/>
          <a:p>
            <a:pPr defTabSz="609585"/>
            <a:r>
              <a:rPr lang="en-US" sz="1200" kern="0" spc="96" dirty="0">
                <a:solidFill>
                  <a:srgbClr val="28E46D"/>
                </a:solidFill>
                <a:latin typeface="DM Sans" pitchFamily="34" charset="0"/>
                <a:ea typeface="DM Sans" pitchFamily="34" charset="-122"/>
                <a:cs typeface="DM Sans" pitchFamily="34" charset="-120"/>
              </a:rPr>
              <a:t>BLOOD TESTING</a:t>
            </a:r>
            <a:endParaRPr lang="en-US" sz="1200" dirty="0">
              <a:solidFill>
                <a:prstClr val="black"/>
              </a:solidFill>
              <a:latin typeface="Calibri" panose="020F0502020204030204"/>
            </a:endParaRPr>
          </a:p>
        </p:txBody>
      </p:sp>
      <p:sp>
        <p:nvSpPr>
          <p:cNvPr id="3" name="Text 1"/>
          <p:cNvSpPr/>
          <p:nvPr/>
        </p:nvSpPr>
        <p:spPr>
          <a:xfrm>
            <a:off x="635001" y="2122489"/>
            <a:ext cx="5899532" cy="901700"/>
          </a:xfrm>
          <a:prstGeom prst="rect">
            <a:avLst/>
          </a:prstGeom>
          <a:noFill/>
          <a:ln/>
        </p:spPr>
        <p:txBody>
          <a:bodyPr wrap="square" lIns="16933" tIns="16933" rIns="16933" bIns="16933" rtlCol="0" anchor="t">
            <a:normAutofit fontScale="92500" lnSpcReduction="20000"/>
          </a:bodyPr>
          <a:lstStyle/>
          <a:p>
            <a:pPr defTabSz="609585">
              <a:lnSpc>
                <a:spcPct val="115000"/>
              </a:lnSpc>
            </a:pPr>
            <a:r>
              <a:rPr lang="en-US" sz="3000" b="1" kern="0" spc="-60" dirty="0">
                <a:solidFill>
                  <a:srgbClr val="FFFFFF"/>
                </a:solidFill>
                <a:latin typeface="DM Sans" pitchFamily="34" charset="0"/>
                <a:ea typeface="DM Sans" pitchFamily="34" charset="-122"/>
                <a:cs typeface="DM Sans" pitchFamily="34" charset="-120"/>
              </a:rPr>
              <a:t>At-home and in-pharmacy blood testing – launching soon</a:t>
            </a:r>
            <a:endParaRPr lang="en-US" sz="3000" dirty="0">
              <a:solidFill>
                <a:prstClr val="black"/>
              </a:solidFill>
              <a:latin typeface="Calibri" panose="020F0502020204030204"/>
            </a:endParaRPr>
          </a:p>
        </p:txBody>
      </p:sp>
      <p:sp>
        <p:nvSpPr>
          <p:cNvPr id="4" name="Shape 2"/>
          <p:cNvSpPr/>
          <p:nvPr/>
        </p:nvSpPr>
        <p:spPr>
          <a:xfrm>
            <a:off x="635000" y="3201988"/>
            <a:ext cx="304800" cy="25400"/>
          </a:xfrm>
          <a:prstGeom prst="roundRect">
            <a:avLst>
              <a:gd name="adj" fmla="val 50000"/>
            </a:avLst>
          </a:prstGeom>
          <a:solidFill>
            <a:srgbClr val="28E46D"/>
          </a:solidFill>
          <a:ln/>
        </p:spPr>
        <p:txBody>
          <a:bodyPr/>
          <a:lstStyle/>
          <a:p>
            <a:pPr defTabSz="609585"/>
            <a:endParaRPr lang="en-GB" sz="1200">
              <a:solidFill>
                <a:prstClr val="black"/>
              </a:solidFill>
              <a:latin typeface="Calibri" panose="020F0502020204030204"/>
            </a:endParaRPr>
          </a:p>
        </p:txBody>
      </p:sp>
      <p:sp>
        <p:nvSpPr>
          <p:cNvPr id="5" name="Text 3"/>
          <p:cNvSpPr/>
          <p:nvPr/>
        </p:nvSpPr>
        <p:spPr>
          <a:xfrm>
            <a:off x="519431" y="3455988"/>
            <a:ext cx="5894071" cy="1720851"/>
          </a:xfrm>
          <a:prstGeom prst="rect">
            <a:avLst/>
          </a:prstGeom>
          <a:noFill/>
          <a:ln/>
        </p:spPr>
        <p:txBody>
          <a:bodyPr wrap="square" lIns="16933" tIns="16933" rIns="16933" bIns="16933" rtlCol="0" anchor="t">
            <a:normAutofit lnSpcReduction="10000"/>
          </a:bodyPr>
          <a:lstStyle/>
          <a:p>
            <a:pPr defTabSz="609585">
              <a:lnSpc>
                <a:spcPct val="150000"/>
              </a:lnSpc>
            </a:pPr>
            <a:r>
              <a:rPr lang="en-US" sz="1300" dirty="0">
                <a:solidFill>
                  <a:srgbClr val="FFFFFF">
                    <a:alpha val="85000"/>
                  </a:srgbClr>
                </a:solidFill>
                <a:latin typeface="DM Sans" pitchFamily="34" charset="0"/>
                <a:ea typeface="DM Sans" pitchFamily="34" charset="-122"/>
                <a:cs typeface="DM Sans" pitchFamily="34" charset="-120"/>
              </a:rPr>
              <a:t>At home Blood Testing and or In pharmacy Phlebotomy</a:t>
            </a:r>
          </a:p>
          <a:p>
            <a:pPr defTabSz="609585">
              <a:lnSpc>
                <a:spcPct val="150000"/>
              </a:lnSpc>
            </a:pPr>
            <a:r>
              <a:rPr lang="en-US" sz="1300" dirty="0">
                <a:solidFill>
                  <a:prstClr val="white"/>
                </a:solidFill>
                <a:latin typeface="DM Sans" pitchFamily="2" charset="0"/>
              </a:rPr>
              <a:t>Tests bundled for specific health concerns e.g. fatigue or menopause</a:t>
            </a:r>
          </a:p>
          <a:p>
            <a:pPr defTabSz="609585">
              <a:lnSpc>
                <a:spcPct val="150000"/>
              </a:lnSpc>
            </a:pPr>
            <a:r>
              <a:rPr lang="en-US" sz="1300" dirty="0">
                <a:solidFill>
                  <a:srgbClr val="FFFFFF">
                    <a:alpha val="85000"/>
                  </a:srgbClr>
                </a:solidFill>
                <a:latin typeface="DM Sans" pitchFamily="34" charset="0"/>
                <a:ea typeface="DM Sans" pitchFamily="34" charset="-122"/>
                <a:cs typeface="DM Sans" pitchFamily="34" charset="-120"/>
              </a:rPr>
              <a:t>API integration with provider</a:t>
            </a:r>
            <a:endParaRPr lang="en-US" sz="1300" dirty="0">
              <a:solidFill>
                <a:prstClr val="black"/>
              </a:solidFill>
              <a:latin typeface="Calibri" panose="020F0502020204030204"/>
            </a:endParaRPr>
          </a:p>
          <a:p>
            <a:pPr defTabSz="609585">
              <a:lnSpc>
                <a:spcPct val="150000"/>
              </a:lnSpc>
            </a:pPr>
            <a:r>
              <a:rPr lang="en-US" sz="1300" dirty="0">
                <a:solidFill>
                  <a:srgbClr val="FFFFFF">
                    <a:alpha val="85000"/>
                  </a:srgbClr>
                </a:solidFill>
                <a:latin typeface="DM Sans" pitchFamily="34" charset="0"/>
                <a:ea typeface="DM Sans" pitchFamily="34" charset="-122"/>
                <a:cs typeface="DM Sans" pitchFamily="34" charset="-120"/>
              </a:rPr>
              <a:t>Patient App detailing results and reports</a:t>
            </a:r>
            <a:endParaRPr lang="en-US" sz="1300" dirty="0">
              <a:solidFill>
                <a:prstClr val="black"/>
              </a:solidFill>
              <a:latin typeface="Calibri" panose="020F0502020204030204"/>
            </a:endParaRPr>
          </a:p>
          <a:p>
            <a:pPr defTabSz="609585">
              <a:lnSpc>
                <a:spcPct val="150000"/>
              </a:lnSpc>
            </a:pPr>
            <a:r>
              <a:rPr lang="en-US" sz="1300" dirty="0">
                <a:solidFill>
                  <a:srgbClr val="FFFFFF">
                    <a:alpha val="85000"/>
                  </a:srgbClr>
                </a:solidFill>
                <a:latin typeface="DM Sans" pitchFamily="34" charset="0"/>
                <a:ea typeface="DM Sans" pitchFamily="34" charset="-122"/>
                <a:cs typeface="DM Sans" pitchFamily="34" charset="-120"/>
              </a:rPr>
              <a:t>Doctor interpretation of results</a:t>
            </a:r>
            <a:endParaRPr lang="en-US" sz="1300" dirty="0">
              <a:solidFill>
                <a:prstClr val="black"/>
              </a:solidFill>
              <a:latin typeface="Calibri" panose="020F0502020204030204"/>
            </a:endParaRPr>
          </a:p>
          <a:p>
            <a:pPr defTabSz="609585">
              <a:lnSpc>
                <a:spcPct val="150000"/>
              </a:lnSpc>
            </a:pPr>
            <a:r>
              <a:rPr lang="en-US" sz="1300" dirty="0">
                <a:solidFill>
                  <a:srgbClr val="FFFFFF">
                    <a:alpha val="85000"/>
                  </a:srgbClr>
                </a:solidFill>
                <a:latin typeface="DM Sans" pitchFamily="34" charset="0"/>
                <a:ea typeface="DM Sans" pitchFamily="34" charset="-122"/>
                <a:cs typeface="DM Sans" pitchFamily="34" charset="-120"/>
              </a:rPr>
              <a:t>One off testing and testing linked to subscription plans</a:t>
            </a:r>
            <a:endParaRPr lang="en-US" sz="1300" dirty="0">
              <a:solidFill>
                <a:prstClr val="black"/>
              </a:solidFill>
              <a:latin typeface="Calibri" panose="020F0502020204030204"/>
            </a:endParaRPr>
          </a:p>
        </p:txBody>
      </p:sp>
      <p:sp>
        <p:nvSpPr>
          <p:cNvPr id="6" name="Shape 4"/>
          <p:cNvSpPr/>
          <p:nvPr/>
        </p:nvSpPr>
        <p:spPr>
          <a:xfrm>
            <a:off x="6870701" y="1532881"/>
            <a:ext cx="4686300" cy="1183631"/>
          </a:xfrm>
          <a:prstGeom prst="roundRect">
            <a:avLst>
              <a:gd name="adj" fmla="val 12876"/>
            </a:avLst>
          </a:prstGeom>
          <a:solidFill>
            <a:srgbClr val="FFFFFF">
              <a:alpha val="7000"/>
            </a:srgbClr>
          </a:solidFill>
          <a:ln w="9525">
            <a:solidFill>
              <a:srgbClr val="FFFFFF">
                <a:alpha val="12000"/>
              </a:srgbClr>
            </a:solidFill>
            <a:prstDash val="solid"/>
          </a:ln>
        </p:spPr>
        <p:txBody>
          <a:bodyPr/>
          <a:lstStyle/>
          <a:p>
            <a:pPr defTabSz="609585"/>
            <a:endParaRPr lang="en-GB" sz="1200">
              <a:solidFill>
                <a:prstClr val="black"/>
              </a:solidFill>
              <a:latin typeface="Calibri" panose="020F0502020204030204"/>
            </a:endParaRPr>
          </a:p>
        </p:txBody>
      </p:sp>
      <p:sp>
        <p:nvSpPr>
          <p:cNvPr id="7" name="Shape 5"/>
          <p:cNvSpPr/>
          <p:nvPr/>
        </p:nvSpPr>
        <p:spPr>
          <a:xfrm>
            <a:off x="7131051" y="1832571"/>
            <a:ext cx="457200" cy="457200"/>
          </a:xfrm>
          <a:prstGeom prst="ellipse">
            <a:avLst/>
          </a:prstGeom>
          <a:solidFill>
            <a:srgbClr val="28E46D">
              <a:alpha val="12000"/>
            </a:srgbClr>
          </a:solidFill>
          <a:ln/>
        </p:spPr>
        <p:txBody>
          <a:bodyPr/>
          <a:lstStyle/>
          <a:p>
            <a:pPr defTabSz="609585"/>
            <a:endParaRPr lang="en-GB" sz="1200">
              <a:solidFill>
                <a:prstClr val="black"/>
              </a:solidFill>
              <a:latin typeface="Calibri" panose="020F0502020204030204"/>
            </a:endParaRPr>
          </a:p>
        </p:txBody>
      </p:sp>
      <p:sp>
        <p:nvSpPr>
          <p:cNvPr id="9" name="Text 6"/>
          <p:cNvSpPr/>
          <p:nvPr/>
        </p:nvSpPr>
        <p:spPr>
          <a:xfrm>
            <a:off x="7740651" y="1767831"/>
            <a:ext cx="3662680" cy="256531"/>
          </a:xfrm>
          <a:prstGeom prst="rect">
            <a:avLst/>
          </a:prstGeom>
          <a:noFill/>
          <a:ln/>
        </p:spPr>
        <p:txBody>
          <a:bodyPr wrap="square" lIns="16933" tIns="16933" rIns="16933" bIns="16933" rtlCol="0" anchor="t">
            <a:normAutofit fontScale="92500" lnSpcReduction="20000"/>
          </a:bodyPr>
          <a:lstStyle/>
          <a:p>
            <a:pPr defTabSz="609585">
              <a:lnSpc>
                <a:spcPct val="130000"/>
              </a:lnSpc>
            </a:pPr>
            <a:r>
              <a:rPr lang="en-US" sz="1400" dirty="0">
                <a:solidFill>
                  <a:srgbClr val="FFFFFF"/>
                </a:solidFill>
                <a:latin typeface="DM Sans" pitchFamily="34" charset="0"/>
                <a:ea typeface="DM Sans" pitchFamily="34" charset="-122"/>
                <a:cs typeface="DM Sans" pitchFamily="34" charset="-120"/>
              </a:rPr>
              <a:t>Digital results report</a:t>
            </a:r>
            <a:endParaRPr lang="en-US" sz="1400" dirty="0">
              <a:solidFill>
                <a:prstClr val="black"/>
              </a:solidFill>
              <a:latin typeface="Calibri" panose="020F0502020204030204"/>
            </a:endParaRPr>
          </a:p>
        </p:txBody>
      </p:sp>
      <p:sp>
        <p:nvSpPr>
          <p:cNvPr id="10" name="Text 7"/>
          <p:cNvSpPr/>
          <p:nvPr/>
        </p:nvSpPr>
        <p:spPr>
          <a:xfrm>
            <a:off x="7740651" y="2024360"/>
            <a:ext cx="3662680" cy="482600"/>
          </a:xfrm>
          <a:prstGeom prst="rect">
            <a:avLst/>
          </a:prstGeom>
          <a:noFill/>
          <a:ln/>
        </p:spPr>
        <p:txBody>
          <a:bodyPr wrap="square" lIns="16933" tIns="16933" rIns="16933" bIns="16933" rtlCol="0" anchor="t">
            <a:normAutofit fontScale="92500" lnSpcReduction="20000"/>
          </a:bodyPr>
          <a:lstStyle/>
          <a:p>
            <a:pPr defTabSz="609585">
              <a:lnSpc>
                <a:spcPct val="150000"/>
              </a:lnSpc>
            </a:pPr>
            <a:r>
              <a:rPr lang="en-US" sz="1200" dirty="0">
                <a:solidFill>
                  <a:srgbClr val="FFFFFF">
                    <a:alpha val="60000"/>
                  </a:srgbClr>
                </a:solidFill>
                <a:latin typeface="DM Sans" pitchFamily="34" charset="0"/>
                <a:ea typeface="DM Sans" pitchFamily="34" charset="-122"/>
                <a:cs typeface="DM Sans" pitchFamily="34" charset="-120"/>
              </a:rPr>
              <a:t>Results and doctor interpretation delivered through the patient app</a:t>
            </a:r>
            <a:endParaRPr lang="en-US" sz="1200" dirty="0">
              <a:solidFill>
                <a:prstClr val="black"/>
              </a:solidFill>
              <a:latin typeface="Calibri" panose="020F0502020204030204"/>
            </a:endParaRPr>
          </a:p>
        </p:txBody>
      </p:sp>
      <p:sp>
        <p:nvSpPr>
          <p:cNvPr id="11" name="Shape 8"/>
          <p:cNvSpPr/>
          <p:nvPr/>
        </p:nvSpPr>
        <p:spPr>
          <a:xfrm>
            <a:off x="6870701" y="2868911"/>
            <a:ext cx="4686300" cy="1183631"/>
          </a:xfrm>
          <a:prstGeom prst="roundRect">
            <a:avLst>
              <a:gd name="adj" fmla="val 12876"/>
            </a:avLst>
          </a:prstGeom>
          <a:solidFill>
            <a:srgbClr val="FFFFFF">
              <a:alpha val="7000"/>
            </a:srgbClr>
          </a:solidFill>
          <a:ln w="9525">
            <a:solidFill>
              <a:srgbClr val="FFFFFF">
                <a:alpha val="12000"/>
              </a:srgbClr>
            </a:solidFill>
            <a:prstDash val="solid"/>
          </a:ln>
        </p:spPr>
        <p:txBody>
          <a:bodyPr/>
          <a:lstStyle/>
          <a:p>
            <a:pPr defTabSz="609585"/>
            <a:endParaRPr lang="en-GB" sz="1200">
              <a:solidFill>
                <a:prstClr val="black"/>
              </a:solidFill>
              <a:latin typeface="Calibri" panose="020F0502020204030204"/>
            </a:endParaRPr>
          </a:p>
        </p:txBody>
      </p:sp>
      <p:sp>
        <p:nvSpPr>
          <p:cNvPr id="12" name="Shape 9"/>
          <p:cNvSpPr/>
          <p:nvPr/>
        </p:nvSpPr>
        <p:spPr>
          <a:xfrm>
            <a:off x="7131051" y="3168601"/>
            <a:ext cx="457200" cy="457200"/>
          </a:xfrm>
          <a:prstGeom prst="ellipse">
            <a:avLst/>
          </a:prstGeom>
          <a:solidFill>
            <a:srgbClr val="28E46D">
              <a:alpha val="12000"/>
            </a:srgbClr>
          </a:solidFill>
          <a:ln/>
        </p:spPr>
        <p:txBody>
          <a:bodyPr/>
          <a:lstStyle/>
          <a:p>
            <a:pPr defTabSz="609585"/>
            <a:endParaRPr lang="en-GB" sz="1200">
              <a:solidFill>
                <a:prstClr val="black"/>
              </a:solidFill>
              <a:latin typeface="Calibri" panose="020F0502020204030204"/>
            </a:endParaRPr>
          </a:p>
        </p:txBody>
      </p:sp>
      <p:sp>
        <p:nvSpPr>
          <p:cNvPr id="14" name="Text 10"/>
          <p:cNvSpPr/>
          <p:nvPr/>
        </p:nvSpPr>
        <p:spPr>
          <a:xfrm>
            <a:off x="7740651" y="3103860"/>
            <a:ext cx="3662680" cy="256531"/>
          </a:xfrm>
          <a:prstGeom prst="rect">
            <a:avLst/>
          </a:prstGeom>
          <a:noFill/>
          <a:ln/>
        </p:spPr>
        <p:txBody>
          <a:bodyPr wrap="square" lIns="16933" tIns="16933" rIns="16933" bIns="16933" rtlCol="0" anchor="t">
            <a:normAutofit fontScale="92500" lnSpcReduction="20000"/>
          </a:bodyPr>
          <a:lstStyle/>
          <a:p>
            <a:pPr defTabSz="609585">
              <a:lnSpc>
                <a:spcPct val="130000"/>
              </a:lnSpc>
            </a:pPr>
            <a:r>
              <a:rPr lang="en-US" sz="1400" dirty="0">
                <a:solidFill>
                  <a:srgbClr val="FFFFFF"/>
                </a:solidFill>
                <a:latin typeface="DM Sans" pitchFamily="34" charset="0"/>
                <a:ea typeface="DM Sans" pitchFamily="34" charset="-122"/>
                <a:cs typeface="DM Sans" pitchFamily="34" charset="-120"/>
              </a:rPr>
              <a:t>At-home testing</a:t>
            </a:r>
            <a:endParaRPr lang="en-US" sz="1400" dirty="0">
              <a:solidFill>
                <a:prstClr val="black"/>
              </a:solidFill>
              <a:latin typeface="Calibri" panose="020F0502020204030204"/>
            </a:endParaRPr>
          </a:p>
        </p:txBody>
      </p:sp>
      <p:sp>
        <p:nvSpPr>
          <p:cNvPr id="15" name="Text 11"/>
          <p:cNvSpPr/>
          <p:nvPr/>
        </p:nvSpPr>
        <p:spPr>
          <a:xfrm>
            <a:off x="7740651" y="3360391"/>
            <a:ext cx="3662680" cy="482600"/>
          </a:xfrm>
          <a:prstGeom prst="rect">
            <a:avLst/>
          </a:prstGeom>
          <a:noFill/>
          <a:ln/>
        </p:spPr>
        <p:txBody>
          <a:bodyPr wrap="square" lIns="16933" tIns="16933" rIns="16933" bIns="16933" rtlCol="0" anchor="t">
            <a:normAutofit fontScale="92500" lnSpcReduction="20000"/>
          </a:bodyPr>
          <a:lstStyle/>
          <a:p>
            <a:pPr defTabSz="609585">
              <a:lnSpc>
                <a:spcPct val="150000"/>
              </a:lnSpc>
            </a:pPr>
            <a:r>
              <a:rPr lang="en-US" sz="1200" dirty="0">
                <a:solidFill>
                  <a:srgbClr val="FFFFFF">
                    <a:alpha val="60000"/>
                  </a:srgbClr>
                </a:solidFill>
                <a:latin typeface="DM Sans" pitchFamily="34" charset="0"/>
                <a:ea typeface="DM Sans" pitchFamily="34" charset="-122"/>
                <a:cs typeface="DM Sans" pitchFamily="34" charset="-120"/>
              </a:rPr>
              <a:t>Convenient home testing kit, with results reviewed by a clinician</a:t>
            </a:r>
            <a:endParaRPr lang="en-US" sz="1200" dirty="0">
              <a:solidFill>
                <a:prstClr val="black"/>
              </a:solidFill>
              <a:latin typeface="Calibri" panose="020F0502020204030204"/>
            </a:endParaRPr>
          </a:p>
        </p:txBody>
      </p:sp>
      <p:sp>
        <p:nvSpPr>
          <p:cNvPr id="16" name="Shape 12"/>
          <p:cNvSpPr/>
          <p:nvPr/>
        </p:nvSpPr>
        <p:spPr>
          <a:xfrm>
            <a:off x="6870701" y="4204941"/>
            <a:ext cx="4686300" cy="1183631"/>
          </a:xfrm>
          <a:prstGeom prst="roundRect">
            <a:avLst>
              <a:gd name="adj" fmla="val 12876"/>
            </a:avLst>
          </a:prstGeom>
          <a:solidFill>
            <a:srgbClr val="FFFFFF">
              <a:alpha val="7000"/>
            </a:srgbClr>
          </a:solidFill>
          <a:ln w="9525">
            <a:solidFill>
              <a:srgbClr val="FFFFFF">
                <a:alpha val="12000"/>
              </a:srgbClr>
            </a:solidFill>
            <a:prstDash val="solid"/>
          </a:ln>
        </p:spPr>
        <p:txBody>
          <a:bodyPr/>
          <a:lstStyle/>
          <a:p>
            <a:pPr defTabSz="609585"/>
            <a:endParaRPr lang="en-GB" sz="1200">
              <a:solidFill>
                <a:prstClr val="black"/>
              </a:solidFill>
              <a:latin typeface="Calibri" panose="020F0502020204030204"/>
            </a:endParaRPr>
          </a:p>
        </p:txBody>
      </p:sp>
      <p:sp>
        <p:nvSpPr>
          <p:cNvPr id="17" name="Shape 13"/>
          <p:cNvSpPr/>
          <p:nvPr/>
        </p:nvSpPr>
        <p:spPr>
          <a:xfrm>
            <a:off x="7131051" y="4504631"/>
            <a:ext cx="457200" cy="457200"/>
          </a:xfrm>
          <a:prstGeom prst="ellipse">
            <a:avLst/>
          </a:prstGeom>
          <a:solidFill>
            <a:srgbClr val="28E46D">
              <a:alpha val="12000"/>
            </a:srgbClr>
          </a:solidFill>
          <a:ln/>
        </p:spPr>
        <p:txBody>
          <a:bodyPr/>
          <a:lstStyle/>
          <a:p>
            <a:pPr defTabSz="609585"/>
            <a:endParaRPr lang="en-GB" sz="1200">
              <a:solidFill>
                <a:prstClr val="black"/>
              </a:solidFill>
              <a:latin typeface="Calibri" panose="020F0502020204030204"/>
            </a:endParaRPr>
          </a:p>
        </p:txBody>
      </p:sp>
      <p:sp>
        <p:nvSpPr>
          <p:cNvPr id="19" name="Text 14"/>
          <p:cNvSpPr/>
          <p:nvPr/>
        </p:nvSpPr>
        <p:spPr>
          <a:xfrm>
            <a:off x="7740651" y="4439891"/>
            <a:ext cx="3662680" cy="256531"/>
          </a:xfrm>
          <a:prstGeom prst="rect">
            <a:avLst/>
          </a:prstGeom>
          <a:noFill/>
          <a:ln/>
        </p:spPr>
        <p:txBody>
          <a:bodyPr wrap="square" lIns="16933" tIns="16933" rIns="16933" bIns="16933" rtlCol="0" anchor="t">
            <a:normAutofit fontScale="92500" lnSpcReduction="20000"/>
          </a:bodyPr>
          <a:lstStyle/>
          <a:p>
            <a:pPr defTabSz="609585">
              <a:lnSpc>
                <a:spcPct val="130000"/>
              </a:lnSpc>
            </a:pPr>
            <a:r>
              <a:rPr lang="en-US" sz="1400" dirty="0">
                <a:solidFill>
                  <a:srgbClr val="FFFFFF"/>
                </a:solidFill>
                <a:latin typeface="DM Sans" pitchFamily="34" charset="0"/>
                <a:ea typeface="DM Sans" pitchFamily="34" charset="-122"/>
                <a:cs typeface="DM Sans" pitchFamily="34" charset="-120"/>
              </a:rPr>
              <a:t>In-pharmacy phlebotomy</a:t>
            </a:r>
            <a:endParaRPr lang="en-US" sz="1400" dirty="0">
              <a:solidFill>
                <a:prstClr val="black"/>
              </a:solidFill>
              <a:latin typeface="Calibri" panose="020F0502020204030204"/>
            </a:endParaRPr>
          </a:p>
        </p:txBody>
      </p:sp>
      <p:sp>
        <p:nvSpPr>
          <p:cNvPr id="20" name="Text 15"/>
          <p:cNvSpPr/>
          <p:nvPr/>
        </p:nvSpPr>
        <p:spPr>
          <a:xfrm>
            <a:off x="7740651" y="4696420"/>
            <a:ext cx="3662680" cy="482600"/>
          </a:xfrm>
          <a:prstGeom prst="rect">
            <a:avLst/>
          </a:prstGeom>
          <a:noFill/>
          <a:ln/>
        </p:spPr>
        <p:txBody>
          <a:bodyPr wrap="square" lIns="16933" tIns="16933" rIns="16933" bIns="16933" rtlCol="0" anchor="t">
            <a:normAutofit fontScale="92500" lnSpcReduction="20000"/>
          </a:bodyPr>
          <a:lstStyle/>
          <a:p>
            <a:pPr defTabSz="609585">
              <a:lnSpc>
                <a:spcPct val="150000"/>
              </a:lnSpc>
            </a:pPr>
            <a:r>
              <a:rPr lang="en-US" sz="1200" dirty="0">
                <a:solidFill>
                  <a:srgbClr val="FFFFFF">
                    <a:alpha val="60000"/>
                  </a:srgbClr>
                </a:solidFill>
                <a:latin typeface="DM Sans" pitchFamily="34" charset="0"/>
                <a:ea typeface="DM Sans" pitchFamily="34" charset="-122"/>
                <a:cs typeface="DM Sans" pitchFamily="34" charset="-120"/>
              </a:rPr>
              <a:t>Professional blood draw at Kamsons pharmacy locations</a:t>
            </a:r>
            <a:endParaRPr lang="en-US" sz="1200" dirty="0">
              <a:solidFill>
                <a:prstClr val="black"/>
              </a:solidFill>
              <a:latin typeface="Calibri" panose="020F0502020204030204"/>
            </a:endParaRPr>
          </a:p>
        </p:txBody>
      </p:sp>
      <p:pic>
        <p:nvPicPr>
          <p:cNvPr id="21" name="Image 3" descr="preencoded.png"/>
          <p:cNvPicPr>
            <a:picLocks noChangeAspect="1"/>
          </p:cNvPicPr>
          <p:nvPr/>
        </p:nvPicPr>
        <p:blipFill>
          <a:blip r:embed="rId3">
            <a:alphaModFix amt="90000"/>
          </a:blip>
          <a:stretch>
            <a:fillRect/>
          </a:stretch>
        </p:blipFill>
        <p:spPr>
          <a:xfrm>
            <a:off x="10003929" y="6223000"/>
            <a:ext cx="1553072" cy="304800"/>
          </a:xfrm>
          <a:prstGeom prst="rect">
            <a:avLst/>
          </a:prstGeom>
        </p:spPr>
      </p:pic>
      <p:pic>
        <p:nvPicPr>
          <p:cNvPr id="23" name="Picture 22" descr="A green symbol with a cross&#10;&#10;AI-generated content may be incorrect.">
            <a:extLst>
              <a:ext uri="{FF2B5EF4-FFF2-40B4-BE49-F238E27FC236}">
                <a16:creationId xmlns:a16="http://schemas.microsoft.com/office/drawing/2014/main" id="{A56C1976-0744-0346-9636-576B9FA349D7}"/>
              </a:ext>
            </a:extLst>
          </p:cNvPr>
          <p:cNvPicPr>
            <a:picLocks noChangeAspect="1"/>
          </p:cNvPicPr>
          <p:nvPr/>
        </p:nvPicPr>
        <p:blipFill>
          <a:blip r:embed="rId4"/>
          <a:stretch>
            <a:fillRect/>
          </a:stretch>
        </p:blipFill>
        <p:spPr>
          <a:xfrm>
            <a:off x="7207469" y="1907628"/>
            <a:ext cx="310056" cy="310056"/>
          </a:xfrm>
          <a:prstGeom prst="rect">
            <a:avLst/>
          </a:prstGeom>
        </p:spPr>
      </p:pic>
      <p:pic>
        <p:nvPicPr>
          <p:cNvPr id="24" name="Picture 23" descr="A green syringe with a needle&#10;&#10;AI-generated content may be incorrect.">
            <a:extLst>
              <a:ext uri="{FF2B5EF4-FFF2-40B4-BE49-F238E27FC236}">
                <a16:creationId xmlns:a16="http://schemas.microsoft.com/office/drawing/2014/main" id="{41D17415-E6EB-653C-FF90-921AE8109544}"/>
              </a:ext>
            </a:extLst>
          </p:cNvPr>
          <p:cNvPicPr>
            <a:picLocks noChangeAspect="1"/>
          </p:cNvPicPr>
          <p:nvPr/>
        </p:nvPicPr>
        <p:blipFill>
          <a:blip r:embed="rId5"/>
          <a:stretch>
            <a:fillRect/>
          </a:stretch>
        </p:blipFill>
        <p:spPr>
          <a:xfrm>
            <a:off x="7224110" y="4593896"/>
            <a:ext cx="278525" cy="278525"/>
          </a:xfrm>
          <a:prstGeom prst="rect">
            <a:avLst/>
          </a:prstGeom>
        </p:spPr>
      </p:pic>
      <p:pic>
        <p:nvPicPr>
          <p:cNvPr id="25" name="Picture 24">
            <a:extLst>
              <a:ext uri="{FF2B5EF4-FFF2-40B4-BE49-F238E27FC236}">
                <a16:creationId xmlns:a16="http://schemas.microsoft.com/office/drawing/2014/main" id="{290B5B03-11DC-F116-5E68-0D723592773E}"/>
              </a:ext>
            </a:extLst>
          </p:cNvPr>
          <p:cNvPicPr>
            <a:picLocks noChangeAspect="1"/>
          </p:cNvPicPr>
          <p:nvPr/>
        </p:nvPicPr>
        <p:blipFill>
          <a:blip r:embed="rId6"/>
          <a:stretch>
            <a:fillRect/>
          </a:stretch>
        </p:blipFill>
        <p:spPr>
          <a:xfrm>
            <a:off x="7215352" y="3245069"/>
            <a:ext cx="304800" cy="30480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70"/>
        <p:cNvGrpSpPr/>
        <p:nvPr/>
      </p:nvGrpSpPr>
      <p:grpSpPr>
        <a:xfrm>
          <a:off x="0" y="0"/>
          <a:ext cx="0" cy="0"/>
          <a:chOff x="0" y="0"/>
          <a:chExt cx="0" cy="0"/>
        </a:xfrm>
      </p:grpSpPr>
      <p:sp>
        <p:nvSpPr>
          <p:cNvPr id="271" name="Google Shape;271;p16"/>
          <p:cNvSpPr/>
          <p:nvPr/>
        </p:nvSpPr>
        <p:spPr>
          <a:xfrm>
            <a:off x="355600" y="952500"/>
            <a:ext cx="11480800" cy="5486400"/>
          </a:xfrm>
          <a:prstGeom prst="rect">
            <a:avLst/>
          </a:prstGeom>
          <a:noFill/>
          <a:ln>
            <a:noFill/>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2" name="Google Shape;272;p16"/>
          <p:cNvSpPr/>
          <p:nvPr/>
        </p:nvSpPr>
        <p:spPr>
          <a:xfrm>
            <a:off x="355600" y="1841500"/>
            <a:ext cx="5588000" cy="4597400"/>
          </a:xfrm>
          <a:prstGeom prst="roundRect">
            <a:avLst>
              <a:gd name="adj" fmla="val 6365"/>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3" name="Google Shape;273;p16"/>
          <p:cNvSpPr/>
          <p:nvPr/>
        </p:nvSpPr>
        <p:spPr>
          <a:xfrm>
            <a:off x="6248400" y="1841500"/>
            <a:ext cx="5588000" cy="4597400"/>
          </a:xfrm>
          <a:prstGeom prst="roundRect">
            <a:avLst>
              <a:gd name="adj" fmla="val 6365"/>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4" name="Google Shape;274;p16"/>
          <p:cNvSpPr/>
          <p:nvPr/>
        </p:nvSpPr>
        <p:spPr>
          <a:xfrm>
            <a:off x="6451600" y="2044701"/>
            <a:ext cx="5181600" cy="292100"/>
          </a:xfrm>
          <a:prstGeom prst="rect">
            <a:avLst/>
          </a:prstGeom>
          <a:noFill/>
          <a:ln>
            <a:noFill/>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5" name="Google Shape;275;p16"/>
          <p:cNvSpPr/>
          <p:nvPr/>
        </p:nvSpPr>
        <p:spPr>
          <a:xfrm>
            <a:off x="558800" y="2044700"/>
            <a:ext cx="5181600" cy="442120"/>
          </a:xfrm>
          <a:prstGeom prst="rect">
            <a:avLst/>
          </a:prstGeom>
          <a:noFill/>
          <a:ln>
            <a:noFill/>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6" name="Google Shape;276;p16"/>
          <p:cNvSpPr/>
          <p:nvPr/>
        </p:nvSpPr>
        <p:spPr>
          <a:xfrm>
            <a:off x="167283" y="165101"/>
            <a:ext cx="9283700" cy="215900"/>
          </a:xfrm>
          <a:prstGeom prst="rect">
            <a:avLst/>
          </a:prstGeom>
          <a:noFill/>
          <a:ln>
            <a:noFill/>
          </a:ln>
        </p:spPr>
        <p:txBody>
          <a:bodyPr spcFirstLastPara="1" wrap="square" lIns="121900" tIns="60933" rIns="121900" bIns="60933" anchor="ctr" anchorCtr="0">
            <a:noAutofit/>
          </a:bodyPr>
          <a:lstStyle/>
          <a:p>
            <a:pPr defTabSz="1219170">
              <a:lnSpc>
                <a:spcPct val="120000"/>
              </a:lnSpc>
              <a:buClr>
                <a:srgbClr val="01240E"/>
              </a:buClr>
              <a:buSzPts val="1800"/>
              <a:defRPr/>
            </a:pPr>
            <a:r>
              <a:rPr lang="en-GB" sz="2400" b="1" kern="0">
                <a:solidFill>
                  <a:srgbClr val="01240E"/>
                </a:solidFill>
                <a:latin typeface="DM Sans"/>
                <a:ea typeface="DM Sans"/>
                <a:cs typeface="DM Sans"/>
                <a:sym typeface="DM Sans"/>
              </a:rPr>
              <a:t>How Virty works in practice</a:t>
            </a:r>
            <a:endParaRPr sz="2400" kern="0">
              <a:solidFill>
                <a:srgbClr val="000000"/>
              </a:solidFill>
              <a:latin typeface="Calibri"/>
              <a:ea typeface="Calibri"/>
              <a:cs typeface="Calibri"/>
              <a:sym typeface="Calibri"/>
            </a:endParaRPr>
          </a:p>
        </p:txBody>
      </p:sp>
      <p:sp>
        <p:nvSpPr>
          <p:cNvPr id="277" name="Google Shape;277;p16"/>
          <p:cNvSpPr/>
          <p:nvPr/>
        </p:nvSpPr>
        <p:spPr>
          <a:xfrm>
            <a:off x="6427789" y="2590800"/>
            <a:ext cx="5219700" cy="685800"/>
          </a:xfrm>
          <a:prstGeom prst="rect">
            <a:avLst/>
          </a:prstGeom>
          <a:noFill/>
          <a:ln>
            <a:noFill/>
          </a:ln>
        </p:spPr>
        <p:txBody>
          <a:bodyPr spcFirstLastPara="1" wrap="square" lIns="121900" tIns="60933" rIns="121900" bIns="60933" anchor="ctr" anchorCtr="0">
            <a:noAutofit/>
          </a:bodyPr>
          <a:lstStyle/>
          <a:p>
            <a:pPr defTabSz="1219170">
              <a:lnSpc>
                <a:spcPct val="130000"/>
              </a:lnSpc>
              <a:buClr>
                <a:srgbClr val="000000"/>
              </a:buClr>
              <a:defRPr/>
            </a:pPr>
            <a:r>
              <a:rPr lang="en-GB" sz="1400" b="1" kern="0">
                <a:solidFill>
                  <a:srgbClr val="01240E"/>
                </a:solidFill>
                <a:latin typeface="DM Sans"/>
                <a:ea typeface="DM Sans"/>
                <a:cs typeface="DM Sans"/>
                <a:sym typeface="DM Sans"/>
              </a:rPr>
              <a:t>1.   Clinical assessment and care plan</a:t>
            </a:r>
            <a:endParaRPr sz="1400" kern="0">
              <a:solidFill>
                <a:srgbClr val="000000"/>
              </a:solidFill>
              <a:latin typeface="DM Sans"/>
              <a:ea typeface="DM Sans"/>
              <a:cs typeface="DM Sans"/>
              <a:sym typeface="DM Sans"/>
            </a:endParaRPr>
          </a:p>
          <a:p>
            <a:pPr marL="228594" indent="-228594" defTabSz="1219170">
              <a:lnSpc>
                <a:spcPct val="130000"/>
              </a:lnSpc>
              <a:buClr>
                <a:srgbClr val="01240E"/>
              </a:buClr>
              <a:buSzPts val="1050"/>
              <a:buFont typeface="Arial"/>
              <a:buChar char="•"/>
              <a:defRPr/>
            </a:pPr>
            <a:r>
              <a:rPr lang="en-GB" sz="1400" kern="0">
                <a:solidFill>
                  <a:srgbClr val="01240E"/>
                </a:solidFill>
                <a:latin typeface="DM Sans"/>
                <a:ea typeface="DM Sans"/>
                <a:cs typeface="DM Sans"/>
                <a:sym typeface="DM Sans"/>
              </a:rPr>
              <a:t>Virty doctor completes assessment and sets a clinical management plan</a:t>
            </a:r>
            <a:endParaRPr sz="1400" kern="0">
              <a:solidFill>
                <a:srgbClr val="000000"/>
              </a:solidFill>
              <a:latin typeface="DM Sans"/>
              <a:ea typeface="DM Sans"/>
              <a:cs typeface="DM Sans"/>
              <a:sym typeface="DM Sans"/>
            </a:endParaRPr>
          </a:p>
        </p:txBody>
      </p:sp>
      <p:sp>
        <p:nvSpPr>
          <p:cNvPr id="278" name="Google Shape;278;p16"/>
          <p:cNvSpPr/>
          <p:nvPr/>
        </p:nvSpPr>
        <p:spPr>
          <a:xfrm>
            <a:off x="6451600" y="3530600"/>
            <a:ext cx="5791200" cy="685800"/>
          </a:xfrm>
          <a:prstGeom prst="rect">
            <a:avLst/>
          </a:prstGeom>
          <a:noFill/>
          <a:ln>
            <a:noFill/>
          </a:ln>
        </p:spPr>
        <p:txBody>
          <a:bodyPr spcFirstLastPara="1" wrap="square" lIns="121900" tIns="60933" rIns="121900" bIns="60933" anchor="ctr" anchorCtr="0">
            <a:noAutofit/>
          </a:bodyPr>
          <a:lstStyle/>
          <a:p>
            <a:pPr defTabSz="1219170">
              <a:lnSpc>
                <a:spcPct val="130000"/>
              </a:lnSpc>
              <a:buClr>
                <a:srgbClr val="000000"/>
              </a:buClr>
              <a:defRPr/>
            </a:pPr>
            <a:r>
              <a:rPr lang="en-GB" sz="1400" b="1" kern="0">
                <a:solidFill>
                  <a:srgbClr val="01240E"/>
                </a:solidFill>
                <a:latin typeface="DM Sans"/>
                <a:ea typeface="DM Sans"/>
                <a:cs typeface="DM Sans"/>
                <a:sym typeface="DM Sans"/>
              </a:rPr>
              <a:t>2. Pharmacy delivery</a:t>
            </a:r>
            <a:endParaRPr sz="1400" kern="0">
              <a:solidFill>
                <a:srgbClr val="000000"/>
              </a:solidFill>
              <a:latin typeface="DM Sans"/>
              <a:ea typeface="DM Sans"/>
              <a:cs typeface="DM Sans"/>
              <a:sym typeface="DM Sans"/>
            </a:endParaRPr>
          </a:p>
          <a:p>
            <a:pPr marL="228594" indent="-228594" defTabSz="1219170">
              <a:lnSpc>
                <a:spcPct val="130000"/>
              </a:lnSpc>
              <a:buClr>
                <a:srgbClr val="01240E"/>
              </a:buClr>
              <a:buSzPts val="1050"/>
              <a:buFont typeface="Arial"/>
              <a:buChar char="•"/>
              <a:defRPr/>
            </a:pPr>
            <a:r>
              <a:rPr lang="en-GB" sz="1400" kern="0">
                <a:solidFill>
                  <a:srgbClr val="01240E"/>
                </a:solidFill>
                <a:latin typeface="DM Sans"/>
                <a:ea typeface="DM Sans"/>
                <a:cs typeface="DM Sans"/>
                <a:sym typeface="DM Sans"/>
              </a:rPr>
              <a:t>Pharmacist reviews management plan and </a:t>
            </a:r>
            <a:endParaRPr sz="1400" kern="0">
              <a:solidFill>
                <a:srgbClr val="000000"/>
              </a:solidFill>
              <a:latin typeface="Calibri"/>
              <a:ea typeface="Calibri"/>
              <a:cs typeface="Calibri"/>
              <a:sym typeface="Calibri"/>
            </a:endParaRPr>
          </a:p>
          <a:p>
            <a:pPr marL="228594" indent="-228594" defTabSz="1219170">
              <a:lnSpc>
                <a:spcPct val="130000"/>
              </a:lnSpc>
              <a:buClr>
                <a:srgbClr val="01240E"/>
              </a:buClr>
              <a:buSzPts val="1050"/>
              <a:buFont typeface="Arial"/>
              <a:buChar char="•"/>
              <a:defRPr/>
            </a:pPr>
            <a:r>
              <a:rPr lang="en-GB" sz="1400" kern="0">
                <a:solidFill>
                  <a:srgbClr val="01240E"/>
                </a:solidFill>
                <a:latin typeface="DM Sans"/>
                <a:ea typeface="DM Sans"/>
                <a:cs typeface="DM Sans"/>
                <a:sym typeface="DM Sans"/>
              </a:rPr>
              <a:t>Medication is dispensed</a:t>
            </a:r>
            <a:endParaRPr sz="1400" kern="0">
              <a:solidFill>
                <a:srgbClr val="000000"/>
              </a:solidFill>
              <a:latin typeface="Calibri"/>
              <a:ea typeface="Calibri"/>
              <a:cs typeface="Calibri"/>
              <a:sym typeface="Calibri"/>
            </a:endParaRPr>
          </a:p>
        </p:txBody>
      </p:sp>
      <p:sp>
        <p:nvSpPr>
          <p:cNvPr id="279" name="Google Shape;279;p16"/>
          <p:cNvSpPr/>
          <p:nvPr/>
        </p:nvSpPr>
        <p:spPr>
          <a:xfrm>
            <a:off x="6451600" y="4470400"/>
            <a:ext cx="5791200" cy="457200"/>
          </a:xfrm>
          <a:prstGeom prst="rect">
            <a:avLst/>
          </a:prstGeom>
          <a:noFill/>
          <a:ln>
            <a:noFill/>
          </a:ln>
        </p:spPr>
        <p:txBody>
          <a:bodyPr spcFirstLastPara="1" wrap="square" lIns="121900" tIns="60933" rIns="121900" bIns="60933" anchor="ctr" anchorCtr="0">
            <a:noAutofit/>
          </a:bodyPr>
          <a:lstStyle/>
          <a:p>
            <a:pPr defTabSz="1219170">
              <a:lnSpc>
                <a:spcPct val="130000"/>
              </a:lnSpc>
              <a:buClr>
                <a:srgbClr val="000000"/>
              </a:buClr>
              <a:defRPr/>
            </a:pPr>
            <a:r>
              <a:rPr lang="en-GB" sz="1400" b="1" kern="0">
                <a:solidFill>
                  <a:srgbClr val="01240E"/>
                </a:solidFill>
                <a:latin typeface="DM Sans"/>
                <a:ea typeface="DM Sans"/>
                <a:cs typeface="DM Sans"/>
                <a:sym typeface="DM Sans"/>
              </a:rPr>
              <a:t>3. Ongoing clinical reviews</a:t>
            </a:r>
            <a:endParaRPr sz="1400" kern="0">
              <a:solidFill>
                <a:srgbClr val="000000"/>
              </a:solidFill>
              <a:latin typeface="DM Sans"/>
              <a:ea typeface="DM Sans"/>
              <a:cs typeface="DM Sans"/>
              <a:sym typeface="DM Sans"/>
            </a:endParaRPr>
          </a:p>
          <a:p>
            <a:pPr marL="228594" indent="-228594" defTabSz="1219170">
              <a:lnSpc>
                <a:spcPct val="130000"/>
              </a:lnSpc>
              <a:buClr>
                <a:srgbClr val="01240E"/>
              </a:buClr>
              <a:buSzPts val="1050"/>
              <a:buFont typeface="Arial"/>
              <a:buChar char="•"/>
              <a:defRPr/>
            </a:pPr>
            <a:r>
              <a:rPr lang="en-GB" sz="1400" kern="0">
                <a:solidFill>
                  <a:srgbClr val="01240E"/>
                </a:solidFill>
                <a:latin typeface="DM Sans"/>
                <a:ea typeface="DM Sans"/>
                <a:cs typeface="DM Sans"/>
                <a:sym typeface="DM Sans"/>
              </a:rPr>
              <a:t>Pharmacist delivers structured 3-monthly clinical reviews</a:t>
            </a:r>
            <a:endParaRPr sz="1400" kern="0">
              <a:solidFill>
                <a:srgbClr val="000000"/>
              </a:solidFill>
              <a:latin typeface="Calibri"/>
              <a:ea typeface="Calibri"/>
              <a:cs typeface="Calibri"/>
              <a:sym typeface="Calibri"/>
            </a:endParaRPr>
          </a:p>
        </p:txBody>
      </p:sp>
      <p:sp>
        <p:nvSpPr>
          <p:cNvPr id="280" name="Google Shape;280;p16"/>
          <p:cNvSpPr/>
          <p:nvPr/>
        </p:nvSpPr>
        <p:spPr>
          <a:xfrm>
            <a:off x="6451600" y="5181600"/>
            <a:ext cx="5791200" cy="685800"/>
          </a:xfrm>
          <a:prstGeom prst="rect">
            <a:avLst/>
          </a:prstGeom>
          <a:noFill/>
          <a:ln>
            <a:noFill/>
          </a:ln>
        </p:spPr>
        <p:txBody>
          <a:bodyPr spcFirstLastPara="1" wrap="square" lIns="121900" tIns="60933" rIns="121900" bIns="60933" anchor="ctr" anchorCtr="0">
            <a:noAutofit/>
          </a:bodyPr>
          <a:lstStyle/>
          <a:p>
            <a:pPr defTabSz="1219170">
              <a:lnSpc>
                <a:spcPct val="130000"/>
              </a:lnSpc>
              <a:buClr>
                <a:srgbClr val="000000"/>
              </a:buClr>
              <a:defRPr/>
            </a:pPr>
            <a:r>
              <a:rPr lang="en-GB" sz="1400" b="1" kern="0">
                <a:solidFill>
                  <a:srgbClr val="01240E"/>
                </a:solidFill>
                <a:latin typeface="DM Sans"/>
                <a:ea typeface="DM Sans"/>
                <a:cs typeface="DM Sans"/>
                <a:sym typeface="DM Sans"/>
              </a:rPr>
              <a:t>4. Clinician circle of care</a:t>
            </a:r>
            <a:endParaRPr sz="1400" kern="0">
              <a:solidFill>
                <a:srgbClr val="000000"/>
              </a:solidFill>
              <a:latin typeface="DM Sans"/>
              <a:ea typeface="DM Sans"/>
              <a:cs typeface="DM Sans"/>
              <a:sym typeface="DM Sans"/>
            </a:endParaRPr>
          </a:p>
          <a:p>
            <a:pPr marL="228594" indent="-228594" defTabSz="1219170">
              <a:lnSpc>
                <a:spcPct val="130000"/>
              </a:lnSpc>
              <a:buClr>
                <a:srgbClr val="01240E"/>
              </a:buClr>
              <a:buSzPts val="1050"/>
              <a:buFont typeface="Arial"/>
              <a:buChar char="•"/>
              <a:defRPr/>
            </a:pPr>
            <a:r>
              <a:rPr lang="en-GB" sz="1400" kern="0">
                <a:solidFill>
                  <a:srgbClr val="01240E"/>
                </a:solidFill>
                <a:latin typeface="DM Sans"/>
                <a:ea typeface="DM Sans"/>
                <a:cs typeface="DM Sans"/>
                <a:sym typeface="DM Sans"/>
              </a:rPr>
              <a:t>Pharmacist discusses cases with the clinical team</a:t>
            </a:r>
            <a:endParaRPr sz="1400" kern="0">
              <a:solidFill>
                <a:srgbClr val="000000"/>
              </a:solidFill>
              <a:latin typeface="Calibri"/>
              <a:ea typeface="Calibri"/>
              <a:cs typeface="Calibri"/>
              <a:sym typeface="Calibri"/>
            </a:endParaRPr>
          </a:p>
          <a:p>
            <a:pPr marL="228594" indent="-228594" defTabSz="1219170">
              <a:lnSpc>
                <a:spcPct val="130000"/>
              </a:lnSpc>
              <a:buClr>
                <a:srgbClr val="01240E"/>
              </a:buClr>
              <a:buSzPts val="1050"/>
              <a:buFont typeface="Arial"/>
              <a:buChar char="•"/>
              <a:defRPr/>
            </a:pPr>
            <a:r>
              <a:rPr lang="en-GB" sz="1400" kern="0">
                <a:solidFill>
                  <a:srgbClr val="01240E"/>
                </a:solidFill>
                <a:latin typeface="DM Sans"/>
                <a:ea typeface="DM Sans"/>
                <a:cs typeface="DM Sans"/>
                <a:sym typeface="DM Sans"/>
              </a:rPr>
              <a:t>Doctor peer review requested when required</a:t>
            </a:r>
            <a:endParaRPr sz="1400" kern="0">
              <a:solidFill>
                <a:srgbClr val="000000"/>
              </a:solidFill>
              <a:latin typeface="DM Sans"/>
              <a:ea typeface="DM Sans"/>
              <a:cs typeface="DM Sans"/>
              <a:sym typeface="DM Sans"/>
            </a:endParaRPr>
          </a:p>
        </p:txBody>
      </p:sp>
      <p:sp>
        <p:nvSpPr>
          <p:cNvPr id="281" name="Google Shape;281;p16"/>
          <p:cNvSpPr/>
          <p:nvPr/>
        </p:nvSpPr>
        <p:spPr>
          <a:xfrm>
            <a:off x="6439695" y="2044701"/>
            <a:ext cx="4655739" cy="274241"/>
          </a:xfrm>
          <a:prstGeom prst="rect">
            <a:avLst/>
          </a:prstGeom>
          <a:noFill/>
          <a:ln>
            <a:noFill/>
          </a:ln>
        </p:spPr>
        <p:txBody>
          <a:bodyPr spcFirstLastPara="1" wrap="square" lIns="121900" tIns="60933" rIns="121900" bIns="60933" anchor="ctr" anchorCtr="0">
            <a:noAutofit/>
          </a:bodyPr>
          <a:lstStyle/>
          <a:p>
            <a:pPr defTabSz="1219170">
              <a:lnSpc>
                <a:spcPct val="85500"/>
              </a:lnSpc>
              <a:buClr>
                <a:srgbClr val="1EA34B"/>
              </a:buClr>
              <a:buSzPts val="2000"/>
              <a:defRPr/>
            </a:pPr>
            <a:r>
              <a:rPr lang="en-GB" sz="2667" b="1" kern="0">
                <a:solidFill>
                  <a:srgbClr val="1EA34B"/>
                </a:solidFill>
                <a:latin typeface="DM Sans"/>
                <a:ea typeface="DM Sans"/>
                <a:cs typeface="DM Sans"/>
                <a:sym typeface="DM Sans"/>
              </a:rPr>
              <a:t>The Virty clinical pathway</a:t>
            </a:r>
            <a:endParaRPr sz="2667" kern="0">
              <a:solidFill>
                <a:srgbClr val="1EA34B"/>
              </a:solidFill>
              <a:latin typeface="DM Sans"/>
              <a:ea typeface="DM Sans"/>
              <a:cs typeface="DM Sans"/>
              <a:sym typeface="DM Sans"/>
            </a:endParaRPr>
          </a:p>
        </p:txBody>
      </p:sp>
      <p:sp>
        <p:nvSpPr>
          <p:cNvPr id="282" name="Google Shape;282;p16"/>
          <p:cNvSpPr/>
          <p:nvPr/>
        </p:nvSpPr>
        <p:spPr>
          <a:xfrm>
            <a:off x="558801" y="2044700"/>
            <a:ext cx="5012135" cy="256381"/>
          </a:xfrm>
          <a:prstGeom prst="rect">
            <a:avLst/>
          </a:prstGeom>
          <a:noFill/>
          <a:ln>
            <a:noFill/>
          </a:ln>
        </p:spPr>
        <p:txBody>
          <a:bodyPr spcFirstLastPara="1" wrap="square" lIns="121900" tIns="60933" rIns="121900" bIns="60933" anchor="ctr" anchorCtr="0">
            <a:noAutofit/>
          </a:bodyPr>
          <a:lstStyle/>
          <a:p>
            <a:pPr defTabSz="1219170">
              <a:lnSpc>
                <a:spcPct val="85500"/>
              </a:lnSpc>
              <a:buClr>
                <a:srgbClr val="1EA34B"/>
              </a:buClr>
              <a:buSzPts val="2000"/>
              <a:defRPr/>
            </a:pPr>
            <a:r>
              <a:rPr lang="en-GB" sz="2667" b="1" kern="0">
                <a:solidFill>
                  <a:srgbClr val="1EA34B"/>
                </a:solidFill>
                <a:latin typeface="DM Sans"/>
                <a:ea typeface="DM Sans"/>
                <a:cs typeface="DM Sans"/>
                <a:sym typeface="DM Sans"/>
              </a:rPr>
              <a:t>How patients begin with Virty</a:t>
            </a:r>
            <a:endParaRPr sz="2667" kern="0">
              <a:solidFill>
                <a:srgbClr val="1EA34B"/>
              </a:solidFill>
              <a:latin typeface="DM Sans"/>
              <a:ea typeface="DM Sans"/>
              <a:cs typeface="DM Sans"/>
              <a:sym typeface="DM Sans"/>
            </a:endParaRPr>
          </a:p>
        </p:txBody>
      </p:sp>
      <p:sp>
        <p:nvSpPr>
          <p:cNvPr id="283" name="Google Shape;283;p16"/>
          <p:cNvSpPr/>
          <p:nvPr/>
        </p:nvSpPr>
        <p:spPr>
          <a:xfrm>
            <a:off x="558800" y="2489201"/>
            <a:ext cx="5023248" cy="926305"/>
          </a:xfrm>
          <a:prstGeom prst="rect">
            <a:avLst/>
          </a:prstGeom>
          <a:noFill/>
          <a:ln>
            <a:noFill/>
          </a:ln>
        </p:spPr>
        <p:txBody>
          <a:bodyPr spcFirstLastPara="1" wrap="square" lIns="121900" tIns="60933" rIns="121900" bIns="60933" anchor="ctr" anchorCtr="0">
            <a:noAutofit/>
          </a:bodyPr>
          <a:lstStyle/>
          <a:p>
            <a:pPr defTabSz="1219170">
              <a:lnSpc>
                <a:spcPct val="130000"/>
              </a:lnSpc>
              <a:buClr>
                <a:srgbClr val="000000"/>
              </a:buClr>
              <a:defRPr/>
            </a:pPr>
            <a:endParaRPr sz="1400" b="1" kern="0">
              <a:solidFill>
                <a:srgbClr val="01240E"/>
              </a:solidFill>
              <a:latin typeface="DM Sans"/>
              <a:ea typeface="DM Sans"/>
              <a:cs typeface="DM Sans"/>
              <a:sym typeface="DM Sans"/>
            </a:endParaRPr>
          </a:p>
          <a:p>
            <a:pPr defTabSz="1219170">
              <a:lnSpc>
                <a:spcPct val="130000"/>
              </a:lnSpc>
              <a:buClr>
                <a:srgbClr val="000000"/>
              </a:buClr>
              <a:defRPr/>
            </a:pPr>
            <a:endParaRPr sz="1400" kern="0">
              <a:solidFill>
                <a:srgbClr val="01240E"/>
              </a:solidFill>
              <a:latin typeface="DM Sans"/>
              <a:ea typeface="DM Sans"/>
              <a:cs typeface="DM Sans"/>
              <a:sym typeface="DM Sans"/>
            </a:endParaRPr>
          </a:p>
        </p:txBody>
      </p:sp>
      <p:sp>
        <p:nvSpPr>
          <p:cNvPr id="284" name="Google Shape;284;p16"/>
          <p:cNvSpPr txBox="1"/>
          <p:nvPr/>
        </p:nvSpPr>
        <p:spPr>
          <a:xfrm>
            <a:off x="559595" y="2488406"/>
            <a:ext cx="5268515" cy="4093374"/>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400" b="1" kern="0" dirty="0">
                <a:solidFill>
                  <a:srgbClr val="000000"/>
                </a:solidFill>
                <a:latin typeface="DM Sans"/>
                <a:ea typeface="DM Sans"/>
                <a:cs typeface="DM Sans"/>
                <a:sym typeface="DM Sans"/>
              </a:rPr>
              <a:t>1.   In-pharmacy conversation</a:t>
            </a:r>
            <a:endParaRPr sz="1400" b="1" kern="0" dirty="0">
              <a:solidFill>
                <a:srgbClr val="000000"/>
              </a:solidFill>
              <a:latin typeface="DM Sans"/>
              <a:ea typeface="DM Sans"/>
              <a:cs typeface="DM Sans"/>
              <a:sym typeface="DM Sans"/>
            </a:endParaRPr>
          </a:p>
          <a:p>
            <a:pPr marL="228594" indent="-228594" defTabSz="1219170">
              <a:buClr>
                <a:srgbClr val="000000"/>
              </a:buClr>
              <a:buSzPts val="1050"/>
              <a:buFont typeface="Arial"/>
              <a:buChar char="•"/>
              <a:defRPr/>
            </a:pPr>
            <a:r>
              <a:rPr lang="en-GB" sz="1400" kern="0" dirty="0">
                <a:solidFill>
                  <a:srgbClr val="000000"/>
                </a:solidFill>
                <a:latin typeface="DM Sans"/>
                <a:ea typeface="DM Sans"/>
                <a:cs typeface="DM Sans"/>
                <a:sym typeface="DM Sans"/>
              </a:rPr>
              <a:t>Pharmacist identifies suitable patients from clinical history or medication</a:t>
            </a:r>
            <a:endParaRPr sz="1400" kern="0" dirty="0">
              <a:solidFill>
                <a:srgbClr val="000000"/>
              </a:solidFill>
              <a:latin typeface="DM Sans"/>
              <a:ea typeface="DM Sans"/>
              <a:cs typeface="DM Sans"/>
              <a:sym typeface="DM Sans"/>
            </a:endParaRPr>
          </a:p>
          <a:p>
            <a:pPr marL="228594" indent="-228594" defTabSz="1219170">
              <a:buClr>
                <a:srgbClr val="000000"/>
              </a:buClr>
              <a:buSzPts val="1050"/>
              <a:buFont typeface="Arial"/>
              <a:buChar char="•"/>
              <a:defRPr/>
            </a:pPr>
            <a:r>
              <a:rPr lang="en-GB" sz="1400" kern="0" dirty="0">
                <a:solidFill>
                  <a:srgbClr val="000000"/>
                </a:solidFill>
                <a:latin typeface="DM Sans"/>
                <a:ea typeface="DM Sans"/>
                <a:cs typeface="DM Sans"/>
                <a:sym typeface="DM Sans"/>
              </a:rPr>
              <a:t>Counter staff proactively engage patients </a:t>
            </a:r>
            <a:endParaRPr sz="1400" kern="0" dirty="0">
              <a:solidFill>
                <a:srgbClr val="000000"/>
              </a:solidFill>
              <a:latin typeface="DM Sans"/>
              <a:ea typeface="DM Sans"/>
              <a:cs typeface="DM Sans"/>
              <a:sym typeface="DM Sans"/>
            </a:endParaRPr>
          </a:p>
          <a:p>
            <a:pPr defTabSz="1219170">
              <a:buClr>
                <a:srgbClr val="000000"/>
              </a:buClr>
              <a:defRPr/>
            </a:pPr>
            <a:endParaRPr sz="1400" kern="0" dirty="0">
              <a:solidFill>
                <a:srgbClr val="000000"/>
              </a:solidFill>
              <a:latin typeface="DM Sans"/>
              <a:ea typeface="DM Sans"/>
              <a:cs typeface="DM Sans"/>
              <a:sym typeface="DM Sans"/>
            </a:endParaRPr>
          </a:p>
          <a:p>
            <a:pPr defTabSz="1219170">
              <a:buClr>
                <a:srgbClr val="000000"/>
              </a:buClr>
              <a:defRPr/>
            </a:pPr>
            <a:r>
              <a:rPr lang="en-GB" sz="1400" b="1" kern="0" dirty="0">
                <a:solidFill>
                  <a:srgbClr val="000000"/>
                </a:solidFill>
                <a:latin typeface="DM Sans"/>
                <a:ea typeface="DM Sans"/>
                <a:cs typeface="DM Sans"/>
                <a:sym typeface="DM Sans"/>
              </a:rPr>
              <a:t>2. At point of collection</a:t>
            </a:r>
            <a:endParaRPr sz="1400" b="1" kern="0" dirty="0">
              <a:solidFill>
                <a:srgbClr val="000000"/>
              </a:solidFill>
              <a:latin typeface="DM Sans"/>
              <a:ea typeface="DM Sans"/>
              <a:cs typeface="DM Sans"/>
              <a:sym typeface="DM Sans"/>
            </a:endParaRPr>
          </a:p>
          <a:p>
            <a:pPr marL="228594" indent="-228594" defTabSz="1219170">
              <a:buClr>
                <a:srgbClr val="000000"/>
              </a:buClr>
              <a:buSzPts val="1050"/>
              <a:buFont typeface="Arial"/>
              <a:buChar char="•"/>
              <a:defRPr/>
            </a:pPr>
            <a:r>
              <a:rPr lang="en-GB" sz="1400" kern="0" dirty="0">
                <a:solidFill>
                  <a:srgbClr val="000000"/>
                </a:solidFill>
                <a:latin typeface="DM Sans"/>
                <a:ea typeface="DM Sans"/>
                <a:cs typeface="DM Sans"/>
                <a:sym typeface="DM Sans"/>
              </a:rPr>
              <a:t>Counter staff attach Virty leaflet to medication bag</a:t>
            </a:r>
            <a:endParaRPr sz="1867" kern="0" dirty="0">
              <a:solidFill>
                <a:srgbClr val="000000"/>
              </a:solidFill>
              <a:latin typeface="Arial"/>
              <a:cs typeface="Arial"/>
              <a:sym typeface="Arial"/>
            </a:endParaRPr>
          </a:p>
          <a:p>
            <a:pPr defTabSz="1219170">
              <a:buClr>
                <a:srgbClr val="000000"/>
              </a:buClr>
              <a:defRPr/>
            </a:pPr>
            <a:endParaRPr sz="1400" kern="0" dirty="0">
              <a:solidFill>
                <a:srgbClr val="000000"/>
              </a:solidFill>
              <a:latin typeface="DM Sans"/>
              <a:ea typeface="DM Sans"/>
              <a:cs typeface="DM Sans"/>
              <a:sym typeface="DM Sans"/>
            </a:endParaRPr>
          </a:p>
          <a:p>
            <a:pPr defTabSz="1219170">
              <a:buClr>
                <a:srgbClr val="000000"/>
              </a:buClr>
              <a:defRPr/>
            </a:pPr>
            <a:r>
              <a:rPr lang="en-GB" sz="1400" b="1" kern="0" dirty="0">
                <a:solidFill>
                  <a:srgbClr val="000000"/>
                </a:solidFill>
                <a:latin typeface="DM Sans"/>
                <a:ea typeface="DM Sans"/>
                <a:cs typeface="DM Sans"/>
                <a:sym typeface="DM Sans"/>
              </a:rPr>
              <a:t>3. Targeted outreach</a:t>
            </a:r>
            <a:endParaRPr sz="1400" kern="0" dirty="0">
              <a:solidFill>
                <a:srgbClr val="000000"/>
              </a:solidFill>
              <a:latin typeface="DM Sans"/>
              <a:ea typeface="DM Sans"/>
              <a:cs typeface="DM Sans"/>
              <a:sym typeface="DM Sans"/>
            </a:endParaRPr>
          </a:p>
          <a:p>
            <a:pPr marL="228594" indent="-228594" defTabSz="1219170">
              <a:buClr>
                <a:srgbClr val="000000"/>
              </a:buClr>
              <a:buSzPts val="1050"/>
              <a:buFont typeface="Arial"/>
              <a:buChar char="•"/>
              <a:defRPr/>
            </a:pPr>
            <a:r>
              <a:rPr lang="en-GB" sz="1400" kern="0" dirty="0">
                <a:solidFill>
                  <a:srgbClr val="000000"/>
                </a:solidFill>
                <a:latin typeface="DM Sans"/>
                <a:ea typeface="DM Sans"/>
                <a:cs typeface="DM Sans"/>
                <a:sym typeface="DM Sans"/>
              </a:rPr>
              <a:t>Pharmacist or manager identifies patients with LTCs</a:t>
            </a:r>
            <a:endParaRPr sz="1400" kern="0" dirty="0">
              <a:solidFill>
                <a:srgbClr val="000000"/>
              </a:solidFill>
              <a:latin typeface="DM Sans"/>
              <a:ea typeface="DM Sans"/>
              <a:cs typeface="DM Sans"/>
              <a:sym typeface="DM Sans"/>
            </a:endParaRPr>
          </a:p>
          <a:p>
            <a:pPr marL="228594" indent="-228594" defTabSz="1219170">
              <a:buClr>
                <a:srgbClr val="000000"/>
              </a:buClr>
              <a:buSzPts val="1050"/>
              <a:buFont typeface="Arial"/>
              <a:buChar char="•"/>
              <a:defRPr/>
            </a:pPr>
            <a:r>
              <a:rPr lang="en-GB" sz="1400" kern="0" dirty="0">
                <a:solidFill>
                  <a:srgbClr val="000000"/>
                </a:solidFill>
                <a:latin typeface="DM Sans"/>
                <a:ea typeface="DM Sans"/>
                <a:cs typeface="DM Sans"/>
                <a:sym typeface="DM Sans"/>
              </a:rPr>
              <a:t>Pharmacy send Virty leaflet with covering letter</a:t>
            </a:r>
            <a:endParaRPr sz="1400" kern="0" dirty="0">
              <a:solidFill>
                <a:srgbClr val="000000"/>
              </a:solidFill>
              <a:latin typeface="DM Sans"/>
              <a:ea typeface="DM Sans"/>
              <a:cs typeface="DM Sans"/>
              <a:sym typeface="DM Sans"/>
            </a:endParaRPr>
          </a:p>
          <a:p>
            <a:pPr defTabSz="1219170">
              <a:buClr>
                <a:srgbClr val="000000"/>
              </a:buClr>
              <a:defRPr/>
            </a:pPr>
            <a:endParaRPr sz="1400" kern="0" dirty="0">
              <a:solidFill>
                <a:srgbClr val="000000"/>
              </a:solidFill>
              <a:latin typeface="DM Sans"/>
              <a:ea typeface="DM Sans"/>
              <a:cs typeface="DM Sans"/>
              <a:sym typeface="DM Sans"/>
            </a:endParaRPr>
          </a:p>
          <a:p>
            <a:pPr defTabSz="1219170">
              <a:buClr>
                <a:srgbClr val="000000"/>
              </a:buClr>
              <a:defRPr/>
            </a:pPr>
            <a:r>
              <a:rPr lang="en-GB" sz="1400" b="1" kern="0" dirty="0">
                <a:solidFill>
                  <a:srgbClr val="000000"/>
                </a:solidFill>
                <a:latin typeface="DM Sans"/>
                <a:ea typeface="DM Sans"/>
                <a:cs typeface="DM Sans"/>
                <a:sym typeface="DM Sans"/>
              </a:rPr>
              <a:t>4. Patient-led enquiry</a:t>
            </a:r>
            <a:endParaRPr sz="1400" kern="0" dirty="0">
              <a:solidFill>
                <a:srgbClr val="000000"/>
              </a:solidFill>
              <a:latin typeface="DM Sans"/>
              <a:ea typeface="DM Sans"/>
              <a:cs typeface="DM Sans"/>
              <a:sym typeface="DM Sans"/>
            </a:endParaRPr>
          </a:p>
          <a:p>
            <a:pPr marL="228594" indent="-228594" defTabSz="1219170">
              <a:buClr>
                <a:srgbClr val="000000"/>
              </a:buClr>
              <a:buSzPts val="1050"/>
              <a:buFont typeface="Arial"/>
              <a:buChar char="•"/>
              <a:defRPr/>
            </a:pPr>
            <a:r>
              <a:rPr lang="en-GB" sz="1400" kern="0" dirty="0">
                <a:solidFill>
                  <a:srgbClr val="000000"/>
                </a:solidFill>
                <a:latin typeface="DM Sans"/>
                <a:ea typeface="DM Sans"/>
                <a:cs typeface="DM Sans"/>
                <a:sym typeface="DM Sans"/>
              </a:rPr>
              <a:t>Patient responds to local advertising or contacts the pharmacy directly</a:t>
            </a:r>
            <a:endParaRPr sz="1400" kern="0" dirty="0">
              <a:solidFill>
                <a:srgbClr val="000000"/>
              </a:solidFill>
              <a:latin typeface="DM Sans"/>
              <a:ea typeface="DM Sans"/>
              <a:cs typeface="DM Sans"/>
              <a:sym typeface="DM Sans"/>
            </a:endParaRPr>
          </a:p>
          <a:p>
            <a:pPr defTabSz="1219170">
              <a:buClr>
                <a:srgbClr val="000000"/>
              </a:buClr>
              <a:buSzPts val="1800"/>
              <a:defRPr/>
            </a:pPr>
            <a:endParaRPr sz="2400" kern="0" dirty="0">
              <a:solidFill>
                <a:srgbClr val="000000"/>
              </a:solidFill>
              <a:latin typeface="Calibri"/>
              <a:ea typeface="Calibri"/>
              <a:cs typeface="Calibri"/>
              <a:sym typeface="Calibri"/>
            </a:endParaRPr>
          </a:p>
          <a:p>
            <a:pPr algn="ctr" defTabSz="1219170">
              <a:buClr>
                <a:srgbClr val="000000"/>
              </a:buClr>
              <a:defRPr/>
            </a:pPr>
            <a:endParaRPr sz="2400" kern="0" dirty="0">
              <a:solidFill>
                <a:srgbClr val="000000"/>
              </a:solidFill>
              <a:latin typeface="Calibri"/>
              <a:ea typeface="Calibri"/>
              <a:cs typeface="Calibri"/>
              <a:sym typeface="Calibri"/>
            </a:endParaRPr>
          </a:p>
        </p:txBody>
      </p:sp>
      <p:sp>
        <p:nvSpPr>
          <p:cNvPr id="285" name="Google Shape;285;p16"/>
          <p:cNvSpPr/>
          <p:nvPr/>
        </p:nvSpPr>
        <p:spPr>
          <a:xfrm>
            <a:off x="211400" y="515618"/>
            <a:ext cx="11480800" cy="894953"/>
          </a:xfrm>
          <a:prstGeom prst="roundRect">
            <a:avLst>
              <a:gd name="adj" fmla="val 21041"/>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86" name="Google Shape;286;p16"/>
          <p:cNvSpPr/>
          <p:nvPr/>
        </p:nvSpPr>
        <p:spPr>
          <a:xfrm>
            <a:off x="374054" y="497759"/>
            <a:ext cx="11060863" cy="871536"/>
          </a:xfrm>
          <a:prstGeom prst="rect">
            <a:avLst/>
          </a:prstGeom>
          <a:noFill/>
          <a:ln>
            <a:noFill/>
          </a:ln>
        </p:spPr>
        <p:txBody>
          <a:bodyPr spcFirstLastPara="1" wrap="square" lIns="121900" tIns="60933" rIns="121900" bIns="60933" anchor="ctr" anchorCtr="0">
            <a:noAutofit/>
          </a:bodyPr>
          <a:lstStyle/>
          <a:p>
            <a:pPr defTabSz="1219170">
              <a:lnSpc>
                <a:spcPct val="132000"/>
              </a:lnSpc>
              <a:buClr>
                <a:srgbClr val="16A34A"/>
              </a:buClr>
              <a:buSzPts val="1350"/>
              <a:defRPr/>
            </a:pPr>
            <a:r>
              <a:rPr lang="en-GB" b="1" kern="0">
                <a:solidFill>
                  <a:srgbClr val="16A34A"/>
                </a:solidFill>
                <a:latin typeface="DM Sans"/>
                <a:ea typeface="DM Sans"/>
                <a:cs typeface="DM Sans"/>
                <a:sym typeface="DM Sans"/>
              </a:rPr>
              <a:t>Patients may start their journey with Virty in different ways, but every patient follows the same safe, doctor-led pathway.</a:t>
            </a:r>
            <a:endParaRPr kern="0">
              <a:solidFill>
                <a:srgbClr val="000000"/>
              </a:solidFill>
              <a:latin typeface="Calibri"/>
              <a:ea typeface="Calibri"/>
              <a:cs typeface="Calibri"/>
              <a:sym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70">
          <a:extLst>
            <a:ext uri="{FF2B5EF4-FFF2-40B4-BE49-F238E27FC236}">
              <a16:creationId xmlns:a16="http://schemas.microsoft.com/office/drawing/2014/main" id="{EA038414-84C8-F731-081F-C8AD07C8E814}"/>
            </a:ext>
          </a:extLst>
        </p:cNvPr>
        <p:cNvGrpSpPr/>
        <p:nvPr/>
      </p:nvGrpSpPr>
      <p:grpSpPr>
        <a:xfrm>
          <a:off x="0" y="0"/>
          <a:ext cx="0" cy="0"/>
          <a:chOff x="0" y="0"/>
          <a:chExt cx="0" cy="0"/>
        </a:xfrm>
      </p:grpSpPr>
      <p:sp>
        <p:nvSpPr>
          <p:cNvPr id="271" name="Google Shape;271;p16">
            <a:extLst>
              <a:ext uri="{FF2B5EF4-FFF2-40B4-BE49-F238E27FC236}">
                <a16:creationId xmlns:a16="http://schemas.microsoft.com/office/drawing/2014/main" id="{8A974E7B-53D1-C963-E47D-577E60EA83F8}"/>
              </a:ext>
            </a:extLst>
          </p:cNvPr>
          <p:cNvSpPr/>
          <p:nvPr/>
        </p:nvSpPr>
        <p:spPr>
          <a:xfrm>
            <a:off x="355600" y="952500"/>
            <a:ext cx="11480800" cy="5486400"/>
          </a:xfrm>
          <a:prstGeom prst="rect">
            <a:avLst/>
          </a:prstGeom>
          <a:noFill/>
          <a:ln>
            <a:noFill/>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4" name="Google Shape;274;p16">
            <a:extLst>
              <a:ext uri="{FF2B5EF4-FFF2-40B4-BE49-F238E27FC236}">
                <a16:creationId xmlns:a16="http://schemas.microsoft.com/office/drawing/2014/main" id="{B9258129-2768-F3DE-B5AD-186E6245EC33}"/>
              </a:ext>
            </a:extLst>
          </p:cNvPr>
          <p:cNvSpPr/>
          <p:nvPr/>
        </p:nvSpPr>
        <p:spPr>
          <a:xfrm>
            <a:off x="6451600" y="2044701"/>
            <a:ext cx="5181600" cy="292100"/>
          </a:xfrm>
          <a:prstGeom prst="rect">
            <a:avLst/>
          </a:prstGeom>
          <a:noFill/>
          <a:ln>
            <a:noFill/>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5" name="Google Shape;275;p16">
            <a:extLst>
              <a:ext uri="{FF2B5EF4-FFF2-40B4-BE49-F238E27FC236}">
                <a16:creationId xmlns:a16="http://schemas.microsoft.com/office/drawing/2014/main" id="{18B5BF49-67A0-D076-D7D7-FB13A26EB85B}"/>
              </a:ext>
            </a:extLst>
          </p:cNvPr>
          <p:cNvSpPr/>
          <p:nvPr/>
        </p:nvSpPr>
        <p:spPr>
          <a:xfrm>
            <a:off x="558800" y="2044700"/>
            <a:ext cx="5181600" cy="442120"/>
          </a:xfrm>
          <a:prstGeom prst="rect">
            <a:avLst/>
          </a:prstGeom>
          <a:noFill/>
          <a:ln>
            <a:noFill/>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76" name="Google Shape;276;p16">
            <a:extLst>
              <a:ext uri="{FF2B5EF4-FFF2-40B4-BE49-F238E27FC236}">
                <a16:creationId xmlns:a16="http://schemas.microsoft.com/office/drawing/2014/main" id="{7491D354-68E8-965B-E2D2-FBE7B4E1AE67}"/>
              </a:ext>
            </a:extLst>
          </p:cNvPr>
          <p:cNvSpPr/>
          <p:nvPr/>
        </p:nvSpPr>
        <p:spPr>
          <a:xfrm>
            <a:off x="355601" y="165101"/>
            <a:ext cx="9283700" cy="215900"/>
          </a:xfrm>
          <a:prstGeom prst="rect">
            <a:avLst/>
          </a:prstGeom>
          <a:noFill/>
          <a:ln>
            <a:noFill/>
          </a:ln>
        </p:spPr>
        <p:txBody>
          <a:bodyPr spcFirstLastPara="1" wrap="square" lIns="121900" tIns="60933" rIns="121900" bIns="60933" anchor="ctr" anchorCtr="0">
            <a:noAutofit/>
          </a:bodyPr>
          <a:lstStyle/>
          <a:p>
            <a:pPr defTabSz="1219170">
              <a:lnSpc>
                <a:spcPct val="120000"/>
              </a:lnSpc>
              <a:buClr>
                <a:srgbClr val="01240E"/>
              </a:buClr>
              <a:buSzPts val="1800"/>
              <a:defRPr/>
            </a:pPr>
            <a:r>
              <a:rPr lang="en-GB" sz="2400" b="1" kern="0" dirty="0">
                <a:solidFill>
                  <a:srgbClr val="01240E"/>
                </a:solidFill>
                <a:latin typeface="DM Sans"/>
                <a:ea typeface="DM Sans"/>
                <a:cs typeface="DM Sans"/>
                <a:sym typeface="DM Sans"/>
              </a:rPr>
              <a:t>Virty Pharmacy Earnings</a:t>
            </a:r>
            <a:endParaRPr sz="2400" kern="0" dirty="0">
              <a:solidFill>
                <a:srgbClr val="000000"/>
              </a:solidFill>
              <a:latin typeface="Calibri"/>
              <a:ea typeface="Calibri"/>
              <a:cs typeface="Calibri"/>
              <a:sym typeface="Calibri"/>
            </a:endParaRPr>
          </a:p>
        </p:txBody>
      </p:sp>
      <p:sp>
        <p:nvSpPr>
          <p:cNvPr id="283" name="Google Shape;283;p16">
            <a:extLst>
              <a:ext uri="{FF2B5EF4-FFF2-40B4-BE49-F238E27FC236}">
                <a16:creationId xmlns:a16="http://schemas.microsoft.com/office/drawing/2014/main" id="{9072254E-A92D-1A07-C9B6-70581E0A29C0}"/>
              </a:ext>
            </a:extLst>
          </p:cNvPr>
          <p:cNvSpPr/>
          <p:nvPr/>
        </p:nvSpPr>
        <p:spPr>
          <a:xfrm>
            <a:off x="558800" y="2489201"/>
            <a:ext cx="5023248" cy="926305"/>
          </a:xfrm>
          <a:prstGeom prst="rect">
            <a:avLst/>
          </a:prstGeom>
          <a:noFill/>
          <a:ln>
            <a:noFill/>
          </a:ln>
        </p:spPr>
        <p:txBody>
          <a:bodyPr spcFirstLastPara="1" wrap="square" lIns="121900" tIns="60933" rIns="121900" bIns="60933" anchor="ctr" anchorCtr="0">
            <a:noAutofit/>
          </a:bodyPr>
          <a:lstStyle/>
          <a:p>
            <a:pPr defTabSz="1219170">
              <a:lnSpc>
                <a:spcPct val="130000"/>
              </a:lnSpc>
              <a:buClr>
                <a:srgbClr val="000000"/>
              </a:buClr>
              <a:defRPr/>
            </a:pPr>
            <a:endParaRPr sz="1400" b="1" kern="0">
              <a:solidFill>
                <a:srgbClr val="01240E"/>
              </a:solidFill>
              <a:latin typeface="DM Sans"/>
              <a:ea typeface="DM Sans"/>
              <a:cs typeface="DM Sans"/>
              <a:sym typeface="DM Sans"/>
            </a:endParaRPr>
          </a:p>
          <a:p>
            <a:pPr defTabSz="1219170">
              <a:lnSpc>
                <a:spcPct val="130000"/>
              </a:lnSpc>
              <a:buClr>
                <a:srgbClr val="000000"/>
              </a:buClr>
              <a:defRPr/>
            </a:pPr>
            <a:endParaRPr sz="1400" kern="0">
              <a:solidFill>
                <a:srgbClr val="01240E"/>
              </a:solidFill>
              <a:latin typeface="DM Sans"/>
              <a:ea typeface="DM Sans"/>
              <a:cs typeface="DM Sans"/>
              <a:sym typeface="DM Sans"/>
            </a:endParaRPr>
          </a:p>
        </p:txBody>
      </p:sp>
      <p:sp>
        <p:nvSpPr>
          <p:cNvPr id="285" name="Google Shape;285;p16">
            <a:extLst>
              <a:ext uri="{FF2B5EF4-FFF2-40B4-BE49-F238E27FC236}">
                <a16:creationId xmlns:a16="http://schemas.microsoft.com/office/drawing/2014/main" id="{A8D38DD9-9A65-90A8-6486-3EB95B7A4EBB}"/>
              </a:ext>
            </a:extLst>
          </p:cNvPr>
          <p:cNvSpPr/>
          <p:nvPr/>
        </p:nvSpPr>
        <p:spPr>
          <a:xfrm>
            <a:off x="167283" y="564186"/>
            <a:ext cx="11480800" cy="2323119"/>
          </a:xfrm>
          <a:prstGeom prst="roundRect">
            <a:avLst>
              <a:gd name="adj" fmla="val 21041"/>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286" name="Google Shape;286;p16">
            <a:extLst>
              <a:ext uri="{FF2B5EF4-FFF2-40B4-BE49-F238E27FC236}">
                <a16:creationId xmlns:a16="http://schemas.microsoft.com/office/drawing/2014/main" id="{BEEF9F12-56DC-A5D2-3D76-966CC3504521}"/>
              </a:ext>
            </a:extLst>
          </p:cNvPr>
          <p:cNvSpPr/>
          <p:nvPr/>
        </p:nvSpPr>
        <p:spPr>
          <a:xfrm>
            <a:off x="355601" y="840100"/>
            <a:ext cx="11060863" cy="1722289"/>
          </a:xfrm>
          <a:prstGeom prst="rect">
            <a:avLst/>
          </a:prstGeom>
          <a:noFill/>
          <a:ln>
            <a:noFill/>
          </a:ln>
        </p:spPr>
        <p:txBody>
          <a:bodyPr spcFirstLastPara="1" wrap="square" lIns="121900" tIns="60933" rIns="121900" bIns="60933" anchor="ctr" anchorCtr="0">
            <a:noAutofit/>
          </a:bodyPr>
          <a:lstStyle/>
          <a:p>
            <a:pPr defTabSz="1219170">
              <a:lnSpc>
                <a:spcPct val="132000"/>
              </a:lnSpc>
              <a:buClr>
                <a:srgbClr val="16A34A"/>
              </a:buClr>
              <a:buSzPts val="1350"/>
              <a:defRPr/>
            </a:pPr>
            <a:r>
              <a:rPr lang="en-US" b="1" kern="0" dirty="0">
                <a:solidFill>
                  <a:srgbClr val="16A34A"/>
                </a:solidFill>
                <a:latin typeface="DM Sans"/>
                <a:ea typeface="DM Sans"/>
                <a:cs typeface="DM Sans"/>
                <a:sym typeface="DM Sans"/>
              </a:rPr>
              <a:t>This example is intentionally cautious and based on low conversion assumptions, phased over a 12 month period </a:t>
            </a:r>
          </a:p>
          <a:p>
            <a:pPr defTabSz="1219170">
              <a:lnSpc>
                <a:spcPct val="132000"/>
              </a:lnSpc>
              <a:buClr>
                <a:srgbClr val="16A34A"/>
              </a:buClr>
              <a:buSzPts val="1350"/>
              <a:defRPr/>
            </a:pPr>
            <a:r>
              <a:rPr lang="en-US" b="1" kern="0" dirty="0">
                <a:solidFill>
                  <a:srgbClr val="16A34A"/>
                </a:solidFill>
                <a:latin typeface="DM Sans"/>
                <a:ea typeface="DM Sans"/>
                <a:cs typeface="DM Sans"/>
                <a:sym typeface="DM Sans"/>
              </a:rPr>
              <a:t>Revenue potential increases with:</a:t>
            </a:r>
          </a:p>
          <a:p>
            <a:pPr marL="380990" indent="-380990" defTabSz="1219170">
              <a:lnSpc>
                <a:spcPct val="132000"/>
              </a:lnSpc>
              <a:buClr>
                <a:srgbClr val="16A34A"/>
              </a:buClr>
              <a:buSzPts val="1350"/>
              <a:buFont typeface="Arial" panose="020B0604020202020204" pitchFamily="34" charset="0"/>
              <a:buChar char="•"/>
              <a:defRPr/>
            </a:pPr>
            <a:r>
              <a:rPr lang="en-US" b="1" kern="0" dirty="0">
                <a:solidFill>
                  <a:srgbClr val="16A34A"/>
                </a:solidFill>
                <a:latin typeface="DM Sans"/>
                <a:ea typeface="DM Sans"/>
                <a:cs typeface="DM Sans"/>
                <a:sym typeface="DM Sans"/>
              </a:rPr>
              <a:t>proactive team engagement</a:t>
            </a:r>
          </a:p>
          <a:p>
            <a:pPr marL="380990" indent="-380990" defTabSz="1219170">
              <a:lnSpc>
                <a:spcPct val="132000"/>
              </a:lnSpc>
              <a:buClr>
                <a:srgbClr val="16A34A"/>
              </a:buClr>
              <a:buSzPts val="1350"/>
              <a:buFont typeface="Arial" panose="020B0604020202020204" pitchFamily="34" charset="0"/>
              <a:buChar char="•"/>
              <a:defRPr/>
            </a:pPr>
            <a:r>
              <a:rPr lang="en-US" b="1" kern="0" dirty="0">
                <a:solidFill>
                  <a:srgbClr val="16A34A"/>
                </a:solidFill>
                <a:latin typeface="DM Sans"/>
                <a:ea typeface="DM Sans"/>
                <a:cs typeface="DM Sans"/>
                <a:sym typeface="DM Sans"/>
              </a:rPr>
              <a:t>r</a:t>
            </a:r>
            <a:r>
              <a:rPr lang="en-US" b="1" kern="0" dirty="0" err="1">
                <a:solidFill>
                  <a:srgbClr val="16A34A"/>
                </a:solidFill>
                <a:latin typeface="DM Sans"/>
                <a:ea typeface="DM Sans"/>
                <a:cs typeface="DM Sans"/>
                <a:sym typeface="DM Sans"/>
              </a:rPr>
              <a:t>epeat</a:t>
            </a:r>
            <a:r>
              <a:rPr lang="en-US" b="1" kern="0" dirty="0">
                <a:solidFill>
                  <a:srgbClr val="16A34A"/>
                </a:solidFill>
                <a:latin typeface="DM Sans"/>
                <a:ea typeface="DM Sans"/>
                <a:cs typeface="DM Sans"/>
                <a:sym typeface="DM Sans"/>
              </a:rPr>
              <a:t> patient conversations</a:t>
            </a:r>
          </a:p>
          <a:p>
            <a:pPr marL="380990" indent="-380990" defTabSz="1219170">
              <a:lnSpc>
                <a:spcPct val="132000"/>
              </a:lnSpc>
              <a:buClr>
                <a:srgbClr val="16A34A"/>
              </a:buClr>
              <a:buSzPts val="1350"/>
              <a:buFont typeface="Arial" panose="020B0604020202020204" pitchFamily="34" charset="0"/>
              <a:buChar char="•"/>
              <a:defRPr/>
            </a:pPr>
            <a:r>
              <a:rPr lang="en-US" b="1" kern="0" dirty="0">
                <a:solidFill>
                  <a:srgbClr val="16A34A"/>
                </a:solidFill>
                <a:latin typeface="DM Sans"/>
                <a:ea typeface="DM Sans"/>
                <a:cs typeface="DM Sans"/>
                <a:sym typeface="DM Sans"/>
              </a:rPr>
              <a:t>wider service adoption</a:t>
            </a:r>
            <a:endParaRPr kern="0" dirty="0">
              <a:solidFill>
                <a:srgbClr val="000000"/>
              </a:solidFill>
              <a:latin typeface="Calibri"/>
              <a:ea typeface="Calibri"/>
              <a:cs typeface="Calibri"/>
              <a:sym typeface="Calibri"/>
            </a:endParaRPr>
          </a:p>
        </p:txBody>
      </p:sp>
      <p:sp>
        <p:nvSpPr>
          <p:cNvPr id="2" name="Google Shape;272;p16">
            <a:extLst>
              <a:ext uri="{FF2B5EF4-FFF2-40B4-BE49-F238E27FC236}">
                <a16:creationId xmlns:a16="http://schemas.microsoft.com/office/drawing/2014/main" id="{D823357B-1D62-377A-FB10-732497E31213}"/>
              </a:ext>
            </a:extLst>
          </p:cNvPr>
          <p:cNvSpPr/>
          <p:nvPr/>
        </p:nvSpPr>
        <p:spPr>
          <a:xfrm>
            <a:off x="4273800" y="2991779"/>
            <a:ext cx="3647645" cy="3384027"/>
          </a:xfrm>
          <a:prstGeom prst="roundRect">
            <a:avLst>
              <a:gd name="adj" fmla="val 6365"/>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3" name="Google Shape;272;p16">
            <a:extLst>
              <a:ext uri="{FF2B5EF4-FFF2-40B4-BE49-F238E27FC236}">
                <a16:creationId xmlns:a16="http://schemas.microsoft.com/office/drawing/2014/main" id="{4CB0CD63-069D-05B1-B3F3-CF941283A0CB}"/>
              </a:ext>
            </a:extLst>
          </p:cNvPr>
          <p:cNvSpPr/>
          <p:nvPr/>
        </p:nvSpPr>
        <p:spPr>
          <a:xfrm>
            <a:off x="219731" y="2991779"/>
            <a:ext cx="3600429" cy="3384027"/>
          </a:xfrm>
          <a:prstGeom prst="roundRect">
            <a:avLst>
              <a:gd name="adj" fmla="val 6365"/>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10" name="Google Shape;272;p16">
            <a:extLst>
              <a:ext uri="{FF2B5EF4-FFF2-40B4-BE49-F238E27FC236}">
                <a16:creationId xmlns:a16="http://schemas.microsoft.com/office/drawing/2014/main" id="{DDE1A34C-A11A-0347-3C06-F115DF29E777}"/>
              </a:ext>
            </a:extLst>
          </p:cNvPr>
          <p:cNvSpPr/>
          <p:nvPr/>
        </p:nvSpPr>
        <p:spPr>
          <a:xfrm>
            <a:off x="8139552" y="2980244"/>
            <a:ext cx="3596029" cy="3384027"/>
          </a:xfrm>
          <a:prstGeom prst="roundRect">
            <a:avLst>
              <a:gd name="adj" fmla="val 6365"/>
            </a:avLst>
          </a:prstGeom>
          <a:solidFill>
            <a:schemeClr val="lt1"/>
          </a:solidFill>
          <a:ln w="9525" cap="flat" cmpd="sng">
            <a:solidFill>
              <a:schemeClr val="lt2"/>
            </a:solidFill>
            <a:prstDash val="solid"/>
            <a:round/>
            <a:headEnd type="none" w="sm" len="sm"/>
            <a:tailEnd type="none" w="sm" len="sm"/>
          </a:ln>
        </p:spPr>
        <p:txBody>
          <a:bodyPr spcFirstLastPara="1" wrap="square" lIns="121900" tIns="60933" rIns="121900" bIns="60933" anchor="t" anchorCtr="0">
            <a:noAutofit/>
          </a:bodyPr>
          <a:lstStyle/>
          <a:p>
            <a:pPr defTabSz="1219170">
              <a:buClr>
                <a:srgbClr val="000000"/>
              </a:buClr>
              <a:defRPr/>
            </a:pPr>
            <a:endParaRPr sz="2400" kern="0">
              <a:solidFill>
                <a:srgbClr val="000000"/>
              </a:solidFill>
              <a:latin typeface="Calibri"/>
              <a:ea typeface="Calibri"/>
              <a:cs typeface="Calibri"/>
              <a:sym typeface="Calibri"/>
            </a:endParaRPr>
          </a:p>
        </p:txBody>
      </p:sp>
      <p:sp>
        <p:nvSpPr>
          <p:cNvPr id="11" name="Google Shape;282;p16">
            <a:extLst>
              <a:ext uri="{FF2B5EF4-FFF2-40B4-BE49-F238E27FC236}">
                <a16:creationId xmlns:a16="http://schemas.microsoft.com/office/drawing/2014/main" id="{F695EEF8-94B0-08E8-D982-A4D0E2397383}"/>
              </a:ext>
            </a:extLst>
          </p:cNvPr>
          <p:cNvSpPr/>
          <p:nvPr/>
        </p:nvSpPr>
        <p:spPr>
          <a:xfrm>
            <a:off x="8291426" y="3217206"/>
            <a:ext cx="3341775" cy="256381"/>
          </a:xfrm>
          <a:prstGeom prst="rect">
            <a:avLst/>
          </a:prstGeom>
          <a:noFill/>
          <a:ln>
            <a:noFill/>
          </a:ln>
        </p:spPr>
        <p:txBody>
          <a:bodyPr spcFirstLastPara="1" wrap="square" lIns="121900" tIns="60933" rIns="121900" bIns="60933" anchor="ctr" anchorCtr="0">
            <a:noAutofit/>
          </a:bodyPr>
          <a:lstStyle/>
          <a:p>
            <a:pPr defTabSz="1219170">
              <a:lnSpc>
                <a:spcPct val="85500"/>
              </a:lnSpc>
              <a:buClr>
                <a:srgbClr val="1EA34B"/>
              </a:buClr>
              <a:buSzPts val="2000"/>
              <a:defRPr/>
            </a:pPr>
            <a:r>
              <a:rPr lang="en-GB" sz="1733" b="1" kern="0" dirty="0">
                <a:solidFill>
                  <a:srgbClr val="1EA34B"/>
                </a:solidFill>
                <a:latin typeface="DM Sans"/>
                <a:ea typeface="DM Sans"/>
                <a:cs typeface="DM Sans"/>
                <a:sym typeface="DM Sans"/>
              </a:rPr>
              <a:t>Pharmacy network count of 15</a:t>
            </a:r>
            <a:endParaRPr sz="1733" kern="0" dirty="0">
              <a:solidFill>
                <a:srgbClr val="1EA34B"/>
              </a:solidFill>
              <a:latin typeface="DM Sans"/>
              <a:ea typeface="DM Sans"/>
              <a:cs typeface="DM Sans"/>
              <a:sym typeface="DM Sans"/>
            </a:endParaRPr>
          </a:p>
        </p:txBody>
      </p:sp>
      <p:sp>
        <p:nvSpPr>
          <p:cNvPr id="12" name="Google Shape;282;p16">
            <a:extLst>
              <a:ext uri="{FF2B5EF4-FFF2-40B4-BE49-F238E27FC236}">
                <a16:creationId xmlns:a16="http://schemas.microsoft.com/office/drawing/2014/main" id="{C691BDB9-4CCF-E75C-496C-3242D2E194B8}"/>
              </a:ext>
            </a:extLst>
          </p:cNvPr>
          <p:cNvSpPr/>
          <p:nvPr/>
        </p:nvSpPr>
        <p:spPr>
          <a:xfrm>
            <a:off x="4310245" y="3201912"/>
            <a:ext cx="3341775" cy="256381"/>
          </a:xfrm>
          <a:prstGeom prst="rect">
            <a:avLst/>
          </a:prstGeom>
          <a:noFill/>
          <a:ln>
            <a:noFill/>
          </a:ln>
        </p:spPr>
        <p:txBody>
          <a:bodyPr spcFirstLastPara="1" wrap="square" lIns="121900" tIns="60933" rIns="121900" bIns="60933" anchor="ctr" anchorCtr="0">
            <a:noAutofit/>
          </a:bodyPr>
          <a:lstStyle/>
          <a:p>
            <a:pPr defTabSz="1219170">
              <a:lnSpc>
                <a:spcPct val="85500"/>
              </a:lnSpc>
              <a:buClr>
                <a:srgbClr val="1EA34B"/>
              </a:buClr>
              <a:buSzPts val="2000"/>
              <a:defRPr/>
            </a:pPr>
            <a:r>
              <a:rPr lang="en-GB" sz="1733" b="1" kern="0" dirty="0">
                <a:solidFill>
                  <a:srgbClr val="1EA34B"/>
                </a:solidFill>
                <a:latin typeface="DM Sans"/>
                <a:ea typeface="DM Sans"/>
                <a:cs typeface="DM Sans"/>
                <a:sym typeface="DM Sans"/>
              </a:rPr>
              <a:t>Pharmacy network count of 5</a:t>
            </a:r>
            <a:endParaRPr sz="1733" kern="0" dirty="0">
              <a:solidFill>
                <a:srgbClr val="1EA34B"/>
              </a:solidFill>
              <a:latin typeface="DM Sans"/>
              <a:ea typeface="DM Sans"/>
              <a:cs typeface="DM Sans"/>
              <a:sym typeface="DM Sans"/>
            </a:endParaRPr>
          </a:p>
        </p:txBody>
      </p:sp>
      <p:sp>
        <p:nvSpPr>
          <p:cNvPr id="13" name="Google Shape;284;p16">
            <a:extLst>
              <a:ext uri="{FF2B5EF4-FFF2-40B4-BE49-F238E27FC236}">
                <a16:creationId xmlns:a16="http://schemas.microsoft.com/office/drawing/2014/main" id="{9D9F4A0A-05F9-031C-8BC2-641A75D77FEA}"/>
              </a:ext>
            </a:extLst>
          </p:cNvPr>
          <p:cNvSpPr txBox="1"/>
          <p:nvPr/>
        </p:nvSpPr>
        <p:spPr>
          <a:xfrm>
            <a:off x="8252852" y="3811978"/>
            <a:ext cx="3647645" cy="2339047"/>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600" b="1" kern="0" dirty="0">
                <a:solidFill>
                  <a:srgbClr val="000000"/>
                </a:solidFill>
                <a:latin typeface="DM Sans"/>
                <a:ea typeface="Calibri"/>
                <a:cs typeface="Calibri"/>
                <a:sym typeface="DM Sans"/>
              </a:rPr>
              <a:t>Monthly footfall = 500</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Conversion rate of unique pt’s 14%</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Annual subscribers = 3066</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Annual Revenue = £182,273</a:t>
            </a:r>
          </a:p>
          <a:p>
            <a:pPr defTabSz="1219170">
              <a:buClr>
                <a:srgbClr val="000000"/>
              </a:buClr>
              <a:defRPr/>
            </a:pPr>
            <a:endParaRPr sz="1600" kern="0" dirty="0">
              <a:solidFill>
                <a:srgbClr val="000000"/>
              </a:solidFill>
              <a:latin typeface="Calibri"/>
              <a:ea typeface="Calibri"/>
              <a:cs typeface="Calibri"/>
              <a:sym typeface="Calibri"/>
            </a:endParaRPr>
          </a:p>
          <a:p>
            <a:pPr algn="ctr" defTabSz="1219170">
              <a:buClr>
                <a:srgbClr val="000000"/>
              </a:buClr>
              <a:defRPr/>
            </a:pPr>
            <a:endParaRPr sz="1600" kern="0" dirty="0">
              <a:solidFill>
                <a:srgbClr val="000000"/>
              </a:solidFill>
              <a:latin typeface="Calibri"/>
              <a:ea typeface="Calibri"/>
              <a:cs typeface="Calibri"/>
              <a:sym typeface="Calibri"/>
            </a:endParaRPr>
          </a:p>
        </p:txBody>
      </p:sp>
      <p:sp>
        <p:nvSpPr>
          <p:cNvPr id="14" name="Google Shape;284;p16">
            <a:extLst>
              <a:ext uri="{FF2B5EF4-FFF2-40B4-BE49-F238E27FC236}">
                <a16:creationId xmlns:a16="http://schemas.microsoft.com/office/drawing/2014/main" id="{A8F5D0BB-2B2F-099B-1EF1-0809689DACCD}"/>
              </a:ext>
            </a:extLst>
          </p:cNvPr>
          <p:cNvSpPr txBox="1"/>
          <p:nvPr/>
        </p:nvSpPr>
        <p:spPr>
          <a:xfrm>
            <a:off x="4337898" y="3811978"/>
            <a:ext cx="3647645" cy="2339047"/>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600" b="1" kern="0" dirty="0">
                <a:solidFill>
                  <a:srgbClr val="000000"/>
                </a:solidFill>
                <a:latin typeface="DM Sans"/>
                <a:ea typeface="Calibri"/>
                <a:cs typeface="Calibri"/>
                <a:sym typeface="DM Sans"/>
              </a:rPr>
              <a:t>Monthly footfall = 500</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Conversion rate of unique pt’s 14%</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Annual subscribers = 1022</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Annual Revenue = £60,757</a:t>
            </a:r>
          </a:p>
          <a:p>
            <a:pPr defTabSz="1219170">
              <a:buClr>
                <a:srgbClr val="000000"/>
              </a:buClr>
              <a:defRPr/>
            </a:pPr>
            <a:endParaRPr sz="1600" kern="0" dirty="0">
              <a:solidFill>
                <a:srgbClr val="000000"/>
              </a:solidFill>
              <a:latin typeface="Calibri"/>
              <a:ea typeface="Calibri"/>
              <a:cs typeface="Calibri"/>
              <a:sym typeface="Calibri"/>
            </a:endParaRPr>
          </a:p>
          <a:p>
            <a:pPr algn="ctr" defTabSz="1219170">
              <a:buClr>
                <a:srgbClr val="000000"/>
              </a:buClr>
              <a:defRPr/>
            </a:pPr>
            <a:endParaRPr sz="1600" kern="0" dirty="0">
              <a:solidFill>
                <a:srgbClr val="000000"/>
              </a:solidFill>
              <a:latin typeface="Calibri"/>
              <a:ea typeface="Calibri"/>
              <a:cs typeface="Calibri"/>
              <a:sym typeface="Calibri"/>
            </a:endParaRPr>
          </a:p>
        </p:txBody>
      </p:sp>
      <p:sp>
        <p:nvSpPr>
          <p:cNvPr id="284" name="Google Shape;284;p16">
            <a:extLst>
              <a:ext uri="{FF2B5EF4-FFF2-40B4-BE49-F238E27FC236}">
                <a16:creationId xmlns:a16="http://schemas.microsoft.com/office/drawing/2014/main" id="{A2FA3876-FF2E-EC91-A38B-F6695A73E941}"/>
              </a:ext>
            </a:extLst>
          </p:cNvPr>
          <p:cNvSpPr txBox="1"/>
          <p:nvPr/>
        </p:nvSpPr>
        <p:spPr>
          <a:xfrm>
            <a:off x="291503" y="3896261"/>
            <a:ext cx="3647645" cy="2339047"/>
          </a:xfrm>
          <a:prstGeom prst="rect">
            <a:avLst/>
          </a:prstGeom>
          <a:noFill/>
          <a:ln>
            <a:noFill/>
          </a:ln>
        </p:spPr>
        <p:txBody>
          <a:bodyPr spcFirstLastPara="1" wrap="square" lIns="121900" tIns="60933" rIns="121900" bIns="60933" anchor="t" anchorCtr="0">
            <a:spAutoFit/>
          </a:bodyPr>
          <a:lstStyle/>
          <a:p>
            <a:pPr defTabSz="1219170">
              <a:buClr>
                <a:srgbClr val="000000"/>
              </a:buClr>
              <a:defRPr/>
            </a:pPr>
            <a:r>
              <a:rPr lang="en-GB" sz="1600" b="1" kern="0" dirty="0">
                <a:solidFill>
                  <a:srgbClr val="000000"/>
                </a:solidFill>
                <a:latin typeface="DM Sans"/>
                <a:ea typeface="Calibri"/>
                <a:cs typeface="Calibri"/>
                <a:sym typeface="DM Sans"/>
              </a:rPr>
              <a:t>Monthly footfall = 500</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Conversion rate of unique pt’s 14%</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Annual subscribers = 204</a:t>
            </a:r>
          </a:p>
          <a:p>
            <a:pPr defTabSz="1219170">
              <a:buClr>
                <a:srgbClr val="000000"/>
              </a:buClr>
              <a:defRPr/>
            </a:pPr>
            <a:endParaRPr lang="en-GB" sz="1600" b="1" kern="0" dirty="0">
              <a:solidFill>
                <a:srgbClr val="000000"/>
              </a:solidFill>
              <a:latin typeface="DM Sans"/>
              <a:ea typeface="Calibri"/>
              <a:cs typeface="Calibri"/>
              <a:sym typeface="DM Sans"/>
            </a:endParaRPr>
          </a:p>
          <a:p>
            <a:pPr defTabSz="1219170">
              <a:buClr>
                <a:srgbClr val="000000"/>
              </a:buClr>
              <a:defRPr/>
            </a:pPr>
            <a:r>
              <a:rPr lang="en-GB" sz="1600" b="1" kern="0" dirty="0">
                <a:solidFill>
                  <a:srgbClr val="000000"/>
                </a:solidFill>
                <a:latin typeface="DM Sans"/>
                <a:ea typeface="Calibri"/>
                <a:cs typeface="Calibri"/>
                <a:sym typeface="DM Sans"/>
              </a:rPr>
              <a:t>Annual Revenue = £12,151</a:t>
            </a:r>
          </a:p>
          <a:p>
            <a:pPr defTabSz="1219170">
              <a:buClr>
                <a:srgbClr val="000000"/>
              </a:buClr>
              <a:defRPr/>
            </a:pPr>
            <a:endParaRPr sz="1600" kern="0" dirty="0">
              <a:solidFill>
                <a:srgbClr val="000000"/>
              </a:solidFill>
              <a:latin typeface="Calibri"/>
              <a:ea typeface="Calibri"/>
              <a:cs typeface="Calibri"/>
              <a:sym typeface="Calibri"/>
            </a:endParaRPr>
          </a:p>
          <a:p>
            <a:pPr algn="ctr" defTabSz="1219170">
              <a:buClr>
                <a:srgbClr val="000000"/>
              </a:buClr>
              <a:defRPr/>
            </a:pPr>
            <a:endParaRPr sz="1600" kern="0" dirty="0">
              <a:solidFill>
                <a:srgbClr val="000000"/>
              </a:solidFill>
              <a:latin typeface="Calibri"/>
              <a:ea typeface="Calibri"/>
              <a:cs typeface="Calibri"/>
              <a:sym typeface="Calibri"/>
            </a:endParaRPr>
          </a:p>
        </p:txBody>
      </p:sp>
      <p:sp>
        <p:nvSpPr>
          <p:cNvPr id="282" name="Google Shape;282;p16">
            <a:extLst>
              <a:ext uri="{FF2B5EF4-FFF2-40B4-BE49-F238E27FC236}">
                <a16:creationId xmlns:a16="http://schemas.microsoft.com/office/drawing/2014/main" id="{955EFFBC-6963-56E8-6226-15DE7F9DAF2E}"/>
              </a:ext>
            </a:extLst>
          </p:cNvPr>
          <p:cNvSpPr/>
          <p:nvPr/>
        </p:nvSpPr>
        <p:spPr>
          <a:xfrm>
            <a:off x="263515" y="3239868"/>
            <a:ext cx="3341775" cy="256381"/>
          </a:xfrm>
          <a:prstGeom prst="rect">
            <a:avLst/>
          </a:prstGeom>
          <a:noFill/>
          <a:ln>
            <a:noFill/>
          </a:ln>
        </p:spPr>
        <p:txBody>
          <a:bodyPr spcFirstLastPara="1" wrap="square" lIns="121900" tIns="60933" rIns="121900" bIns="60933" anchor="ctr" anchorCtr="0">
            <a:noAutofit/>
          </a:bodyPr>
          <a:lstStyle/>
          <a:p>
            <a:pPr defTabSz="1219170">
              <a:lnSpc>
                <a:spcPct val="85500"/>
              </a:lnSpc>
              <a:buClr>
                <a:srgbClr val="1EA34B"/>
              </a:buClr>
              <a:buSzPts val="2000"/>
              <a:defRPr/>
            </a:pPr>
            <a:r>
              <a:rPr lang="en-GB" sz="1733" b="1" kern="0" dirty="0">
                <a:solidFill>
                  <a:srgbClr val="1EA34B"/>
                </a:solidFill>
                <a:latin typeface="DM Sans"/>
                <a:ea typeface="DM Sans"/>
                <a:cs typeface="DM Sans"/>
                <a:sym typeface="DM Sans"/>
              </a:rPr>
              <a:t>Pharmacy network count of </a:t>
            </a:r>
          </a:p>
          <a:p>
            <a:pPr defTabSz="1219170">
              <a:lnSpc>
                <a:spcPct val="85500"/>
              </a:lnSpc>
              <a:buClr>
                <a:srgbClr val="1EA34B"/>
              </a:buClr>
              <a:buSzPts val="2000"/>
              <a:defRPr/>
            </a:pPr>
            <a:r>
              <a:rPr lang="en-GB" sz="1733" b="1" kern="0" dirty="0">
                <a:solidFill>
                  <a:srgbClr val="1EA34B"/>
                </a:solidFill>
                <a:latin typeface="DM Sans"/>
                <a:ea typeface="DM Sans"/>
                <a:cs typeface="DM Sans"/>
                <a:sym typeface="DM Sans"/>
              </a:rPr>
              <a:t>1</a:t>
            </a:r>
            <a:endParaRPr sz="1733" kern="0" dirty="0">
              <a:solidFill>
                <a:srgbClr val="1EA34B"/>
              </a:solidFill>
              <a:latin typeface="DM Sans"/>
              <a:ea typeface="DM Sans"/>
              <a:cs typeface="DM Sans"/>
              <a:sym typeface="DM Sans"/>
            </a:endParaRPr>
          </a:p>
        </p:txBody>
      </p:sp>
    </p:spTree>
    <p:extLst>
      <p:ext uri="{BB962C8B-B14F-4D97-AF65-F5344CB8AC3E}">
        <p14:creationId xmlns:p14="http://schemas.microsoft.com/office/powerpoint/2010/main" val="25415680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p:cNvGrpSpPr/>
        <p:nvPr/>
      </p:nvGrpSpPr>
      <p:grpSpPr>
        <a:xfrm>
          <a:off x="0" y="0"/>
          <a:ext cx="0" cy="0"/>
          <a:chOff x="0" y="0"/>
          <a:chExt cx="0" cy="0"/>
        </a:xfrm>
      </p:grpSpPr>
      <p:sp>
        <p:nvSpPr>
          <p:cNvPr id="2" name="Text 0"/>
          <p:cNvSpPr/>
          <p:nvPr/>
        </p:nvSpPr>
        <p:spPr>
          <a:xfrm>
            <a:off x="254000" y="228601"/>
            <a:ext cx="10591800" cy="368300"/>
          </a:xfrm>
          <a:prstGeom prst="rect">
            <a:avLst/>
          </a:prstGeom>
          <a:noFill/>
          <a:ln/>
        </p:spPr>
        <p:txBody>
          <a:bodyPr wrap="square" rtlCol="0" anchor="ctr"/>
          <a:lstStyle/>
          <a:p>
            <a:pPr defTabSz="1219170">
              <a:lnSpc>
                <a:spcPts val="2880"/>
              </a:lnSpc>
            </a:pPr>
            <a:r>
              <a:rPr lang="en-US" sz="2400" b="1" kern="0" spc="-48" dirty="0">
                <a:solidFill>
                  <a:srgbClr val="01240E">
                    <a:alpha val="99000"/>
                  </a:srgbClr>
                </a:solidFill>
                <a:latin typeface="DM Sans" pitchFamily="34" charset="0"/>
                <a:ea typeface="DM Sans" pitchFamily="34" charset="-122"/>
                <a:cs typeface="DM Sans" pitchFamily="34" charset="-120"/>
              </a:rPr>
              <a:t>Supporting your pharmacy to promote Virty</a:t>
            </a:r>
            <a:endParaRPr lang="en-US" sz="2400" dirty="0">
              <a:solidFill>
                <a:prstClr val="black"/>
              </a:solidFill>
              <a:latin typeface="Calibri" panose="020F0502020204030204"/>
            </a:endParaRPr>
          </a:p>
        </p:txBody>
      </p:sp>
      <p:sp>
        <p:nvSpPr>
          <p:cNvPr id="3" name="Shape 1"/>
          <p:cNvSpPr/>
          <p:nvPr/>
        </p:nvSpPr>
        <p:spPr>
          <a:xfrm>
            <a:off x="355600" y="774700"/>
            <a:ext cx="11480800" cy="1390651"/>
          </a:xfrm>
          <a:prstGeom prst="roundRect">
            <a:avLst>
              <a:gd name="adj" fmla="val 21041"/>
            </a:avLst>
          </a:prstGeom>
          <a:solidFill>
            <a:schemeClr val="bg1"/>
          </a:solidFill>
          <a:ln>
            <a:solidFill>
              <a:schemeClr val="bg2"/>
            </a:solidFill>
          </a:ln>
        </p:spPr>
        <p:txBody>
          <a:bodyPr/>
          <a:lstStyle/>
          <a:p>
            <a:pPr defTabSz="1219170"/>
            <a:endParaRPr lang="en-GB" sz="2400">
              <a:solidFill>
                <a:prstClr val="black"/>
              </a:solidFill>
              <a:latin typeface="Calibri" panose="020F0502020204030204"/>
            </a:endParaRPr>
          </a:p>
        </p:txBody>
      </p:sp>
      <p:sp>
        <p:nvSpPr>
          <p:cNvPr id="4" name="Text 2"/>
          <p:cNvSpPr/>
          <p:nvPr/>
        </p:nvSpPr>
        <p:spPr>
          <a:xfrm>
            <a:off x="558800" y="977901"/>
            <a:ext cx="2508251" cy="317500"/>
          </a:xfrm>
          <a:prstGeom prst="rect">
            <a:avLst/>
          </a:prstGeom>
          <a:noFill/>
          <a:ln/>
        </p:spPr>
        <p:txBody>
          <a:bodyPr wrap="square" rtlCol="0" anchor="ctr"/>
          <a:lstStyle/>
          <a:p>
            <a:pPr defTabSz="1219170">
              <a:lnSpc>
                <a:spcPts val="2508"/>
              </a:lnSpc>
            </a:pPr>
            <a:r>
              <a:rPr lang="en-US" sz="1900" b="1" kern="0" spc="-37" dirty="0">
                <a:solidFill>
                  <a:srgbClr val="01240E">
                    <a:alpha val="99000"/>
                  </a:srgbClr>
                </a:solidFill>
                <a:latin typeface="DM Sans" pitchFamily="34" charset="0"/>
                <a:ea typeface="DM Sans" pitchFamily="34" charset="-122"/>
                <a:cs typeface="DM Sans" pitchFamily="34" charset="-120"/>
              </a:rPr>
              <a:t>What we provide</a:t>
            </a:r>
            <a:endParaRPr lang="en-US" sz="1900" dirty="0">
              <a:solidFill>
                <a:prstClr val="black"/>
              </a:solidFill>
              <a:latin typeface="Calibri" panose="020F0502020204030204"/>
            </a:endParaRPr>
          </a:p>
        </p:txBody>
      </p:sp>
      <p:sp>
        <p:nvSpPr>
          <p:cNvPr id="5" name="Text 3"/>
          <p:cNvSpPr/>
          <p:nvPr/>
        </p:nvSpPr>
        <p:spPr>
          <a:xfrm>
            <a:off x="558800" y="1422401"/>
            <a:ext cx="10591800" cy="469900"/>
          </a:xfrm>
          <a:prstGeom prst="rect">
            <a:avLst/>
          </a:prstGeom>
          <a:noFill/>
          <a:ln/>
        </p:spPr>
        <p:txBody>
          <a:bodyPr wrap="square" rtlCol="0" anchor="ctr"/>
          <a:lstStyle/>
          <a:p>
            <a:pPr defTabSz="1219170">
              <a:lnSpc>
                <a:spcPts val="1848"/>
              </a:lnSpc>
            </a:pPr>
            <a:r>
              <a:rPr lang="en-US" sz="1400" kern="0" spc="-28" dirty="0">
                <a:solidFill>
                  <a:srgbClr val="01240E">
                    <a:alpha val="99000"/>
                  </a:srgbClr>
                </a:solidFill>
                <a:latin typeface="DM Sans" pitchFamily="34" charset="0"/>
                <a:ea typeface="DM Sans" pitchFamily="34" charset="-122"/>
                <a:cs typeface="DM Sans" pitchFamily="34" charset="-120"/>
              </a:rPr>
              <a:t>Virtually UK supports hyper-local, pharmacy-led marketing tailored to your community, patient demographics and growth ambitions. We are here to ensure your private services reach the patients who need them.</a:t>
            </a:r>
            <a:endParaRPr lang="en-US" sz="1400" dirty="0">
              <a:solidFill>
                <a:prstClr val="black"/>
              </a:solidFill>
              <a:latin typeface="Calibri" panose="020F0502020204030204"/>
            </a:endParaRPr>
          </a:p>
        </p:txBody>
      </p:sp>
      <p:sp>
        <p:nvSpPr>
          <p:cNvPr id="6" name="Shape 4"/>
          <p:cNvSpPr/>
          <p:nvPr/>
        </p:nvSpPr>
        <p:spPr>
          <a:xfrm>
            <a:off x="6248400" y="2374900"/>
            <a:ext cx="5588000" cy="3016251"/>
          </a:xfrm>
          <a:prstGeom prst="roundRect">
            <a:avLst>
              <a:gd name="adj" fmla="val 9701"/>
            </a:avLst>
          </a:prstGeom>
          <a:solidFill>
            <a:schemeClr val="bg1"/>
          </a:solidFill>
          <a:ln>
            <a:solidFill>
              <a:schemeClr val="bg2"/>
            </a:solidFill>
          </a:ln>
        </p:spPr>
        <p:txBody>
          <a:bodyPr/>
          <a:lstStyle/>
          <a:p>
            <a:pPr defTabSz="1219170"/>
            <a:endParaRPr lang="en-GB" sz="2400">
              <a:solidFill>
                <a:prstClr val="black"/>
              </a:solidFill>
              <a:latin typeface="Calibri" panose="020F0502020204030204"/>
            </a:endParaRPr>
          </a:p>
        </p:txBody>
      </p:sp>
      <p:sp>
        <p:nvSpPr>
          <p:cNvPr id="7" name="Text 5"/>
          <p:cNvSpPr/>
          <p:nvPr/>
        </p:nvSpPr>
        <p:spPr>
          <a:xfrm>
            <a:off x="6451600" y="2578101"/>
            <a:ext cx="5791200" cy="292100"/>
          </a:xfrm>
          <a:prstGeom prst="rect">
            <a:avLst/>
          </a:prstGeom>
          <a:noFill/>
          <a:ln/>
        </p:spPr>
        <p:txBody>
          <a:bodyPr wrap="square" rtlCol="0" anchor="ctr"/>
          <a:lstStyle/>
          <a:p>
            <a:pPr defTabSz="1219170">
              <a:lnSpc>
                <a:spcPts val="2280"/>
              </a:lnSpc>
            </a:pPr>
            <a:r>
              <a:rPr lang="en-US" sz="1900" b="1" kern="0" spc="-37" dirty="0">
                <a:solidFill>
                  <a:srgbClr val="01240E">
                    <a:alpha val="99000"/>
                  </a:srgbClr>
                </a:solidFill>
                <a:latin typeface="DM Sans" pitchFamily="34" charset="0"/>
                <a:ea typeface="DM Sans" pitchFamily="34" charset="-122"/>
                <a:cs typeface="DM Sans" pitchFamily="34" charset="-120"/>
              </a:rPr>
              <a:t>Why this matters</a:t>
            </a:r>
            <a:endParaRPr lang="en-US" sz="1900" dirty="0">
              <a:solidFill>
                <a:prstClr val="black"/>
              </a:solidFill>
              <a:latin typeface="Calibri" panose="020F0502020204030204"/>
            </a:endParaRPr>
          </a:p>
        </p:txBody>
      </p:sp>
      <p:sp>
        <p:nvSpPr>
          <p:cNvPr id="8" name="Shape 6"/>
          <p:cNvSpPr/>
          <p:nvPr/>
        </p:nvSpPr>
        <p:spPr>
          <a:xfrm>
            <a:off x="6451600" y="2997200"/>
            <a:ext cx="5181600" cy="2184400"/>
          </a:xfrm>
          <a:prstGeom prst="rect">
            <a:avLst/>
          </a:prstGeom>
          <a:noFill/>
          <a:ln/>
        </p:spPr>
        <p:txBody>
          <a:bodyPr/>
          <a:lstStyle/>
          <a:p>
            <a:pPr defTabSz="1219170"/>
            <a:endParaRPr lang="en-GB" sz="2400">
              <a:solidFill>
                <a:prstClr val="black"/>
              </a:solidFill>
              <a:latin typeface="Calibri" panose="020F0502020204030204"/>
            </a:endParaRPr>
          </a:p>
        </p:txBody>
      </p:sp>
      <p:sp>
        <p:nvSpPr>
          <p:cNvPr id="9" name="Shape 7"/>
          <p:cNvSpPr/>
          <p:nvPr/>
        </p:nvSpPr>
        <p:spPr>
          <a:xfrm>
            <a:off x="6451600" y="2997200"/>
            <a:ext cx="5181600" cy="2184400"/>
          </a:xfrm>
          <a:prstGeom prst="rect">
            <a:avLst/>
          </a:prstGeom>
          <a:noFill/>
          <a:ln/>
        </p:spPr>
        <p:txBody>
          <a:bodyPr/>
          <a:lstStyle/>
          <a:p>
            <a:pPr defTabSz="1219170"/>
            <a:endParaRPr lang="en-GB" sz="2400">
              <a:solidFill>
                <a:prstClr val="black"/>
              </a:solidFill>
              <a:latin typeface="Calibri" panose="020F0502020204030204"/>
            </a:endParaRPr>
          </a:p>
        </p:txBody>
      </p:sp>
      <p:sp>
        <p:nvSpPr>
          <p:cNvPr id="10" name="Shape 8"/>
          <p:cNvSpPr/>
          <p:nvPr/>
        </p:nvSpPr>
        <p:spPr>
          <a:xfrm>
            <a:off x="6451600" y="2997200"/>
            <a:ext cx="5181600" cy="2794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11" name="Image 0" descr="preencoded.png"/>
          <p:cNvPicPr>
            <a:picLocks noChangeAspect="1"/>
          </p:cNvPicPr>
          <p:nvPr/>
        </p:nvPicPr>
        <p:blipFill>
          <a:blip r:embed="rId3"/>
          <a:stretch>
            <a:fillRect/>
          </a:stretch>
        </p:blipFill>
        <p:spPr>
          <a:xfrm>
            <a:off x="6451600" y="2997200"/>
            <a:ext cx="127000" cy="279400"/>
          </a:xfrm>
          <a:prstGeom prst="rect">
            <a:avLst/>
          </a:prstGeom>
        </p:spPr>
      </p:pic>
      <p:sp>
        <p:nvSpPr>
          <p:cNvPr id="12" name="Text 9"/>
          <p:cNvSpPr/>
          <p:nvPr/>
        </p:nvSpPr>
        <p:spPr>
          <a:xfrm>
            <a:off x="6680200" y="2997200"/>
            <a:ext cx="5562600" cy="2286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Drives sustainable growth</a:t>
            </a:r>
            <a:endParaRPr lang="en-US" sz="1400" dirty="0">
              <a:solidFill>
                <a:prstClr val="black"/>
              </a:solidFill>
              <a:latin typeface="Calibri" panose="020F0502020204030204"/>
            </a:endParaRPr>
          </a:p>
        </p:txBody>
      </p:sp>
      <p:sp>
        <p:nvSpPr>
          <p:cNvPr id="13" name="Shape 10"/>
          <p:cNvSpPr/>
          <p:nvPr/>
        </p:nvSpPr>
        <p:spPr>
          <a:xfrm>
            <a:off x="6451600" y="3429000"/>
            <a:ext cx="5181600" cy="2794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14" name="Image 1" descr="preencoded.png"/>
          <p:cNvPicPr>
            <a:picLocks noChangeAspect="1"/>
          </p:cNvPicPr>
          <p:nvPr/>
        </p:nvPicPr>
        <p:blipFill>
          <a:blip r:embed="rId3"/>
          <a:stretch>
            <a:fillRect/>
          </a:stretch>
        </p:blipFill>
        <p:spPr>
          <a:xfrm>
            <a:off x="6451600" y="3429000"/>
            <a:ext cx="127000" cy="279400"/>
          </a:xfrm>
          <a:prstGeom prst="rect">
            <a:avLst/>
          </a:prstGeom>
        </p:spPr>
      </p:pic>
      <p:sp>
        <p:nvSpPr>
          <p:cNvPr id="15" name="Text 11"/>
          <p:cNvSpPr/>
          <p:nvPr/>
        </p:nvSpPr>
        <p:spPr>
          <a:xfrm>
            <a:off x="6680201" y="3429000"/>
            <a:ext cx="5422900" cy="2286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Increases footfall and repeat engagement</a:t>
            </a:r>
            <a:endParaRPr lang="en-US" sz="1400" dirty="0">
              <a:solidFill>
                <a:prstClr val="black"/>
              </a:solidFill>
              <a:latin typeface="Calibri" panose="020F0502020204030204"/>
            </a:endParaRPr>
          </a:p>
        </p:txBody>
      </p:sp>
      <p:sp>
        <p:nvSpPr>
          <p:cNvPr id="16" name="Shape 12"/>
          <p:cNvSpPr/>
          <p:nvPr/>
        </p:nvSpPr>
        <p:spPr>
          <a:xfrm>
            <a:off x="6451601" y="3860800"/>
            <a:ext cx="4991100" cy="2794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17" name="Image 2" descr="preencoded.png"/>
          <p:cNvPicPr>
            <a:picLocks noChangeAspect="1"/>
          </p:cNvPicPr>
          <p:nvPr/>
        </p:nvPicPr>
        <p:blipFill>
          <a:blip r:embed="rId3"/>
          <a:stretch>
            <a:fillRect/>
          </a:stretch>
        </p:blipFill>
        <p:spPr>
          <a:xfrm>
            <a:off x="6451600" y="3860800"/>
            <a:ext cx="127000" cy="279400"/>
          </a:xfrm>
          <a:prstGeom prst="rect">
            <a:avLst/>
          </a:prstGeom>
        </p:spPr>
      </p:pic>
      <p:sp>
        <p:nvSpPr>
          <p:cNvPr id="18" name="Text 13"/>
          <p:cNvSpPr/>
          <p:nvPr/>
        </p:nvSpPr>
        <p:spPr>
          <a:xfrm>
            <a:off x="6680201" y="3860800"/>
            <a:ext cx="5372100" cy="2286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Enhances your pharmacy as a trusted local health hub</a:t>
            </a:r>
            <a:endParaRPr lang="en-US" sz="1400" dirty="0">
              <a:solidFill>
                <a:prstClr val="black"/>
              </a:solidFill>
              <a:latin typeface="Calibri" panose="020F0502020204030204"/>
            </a:endParaRPr>
          </a:p>
        </p:txBody>
      </p:sp>
      <p:sp>
        <p:nvSpPr>
          <p:cNvPr id="19" name="Shape 14"/>
          <p:cNvSpPr/>
          <p:nvPr/>
        </p:nvSpPr>
        <p:spPr>
          <a:xfrm>
            <a:off x="6451601" y="4292600"/>
            <a:ext cx="4991100" cy="2794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20" name="Image 3" descr="preencoded.png"/>
          <p:cNvPicPr>
            <a:picLocks noChangeAspect="1"/>
          </p:cNvPicPr>
          <p:nvPr/>
        </p:nvPicPr>
        <p:blipFill>
          <a:blip r:embed="rId3"/>
          <a:stretch>
            <a:fillRect/>
          </a:stretch>
        </p:blipFill>
        <p:spPr>
          <a:xfrm>
            <a:off x="6451600" y="4292600"/>
            <a:ext cx="127000" cy="279400"/>
          </a:xfrm>
          <a:prstGeom prst="rect">
            <a:avLst/>
          </a:prstGeom>
        </p:spPr>
      </p:pic>
      <p:sp>
        <p:nvSpPr>
          <p:cNvPr id="21" name="Text 15"/>
          <p:cNvSpPr/>
          <p:nvPr/>
        </p:nvSpPr>
        <p:spPr>
          <a:xfrm>
            <a:off x="6680201" y="4292600"/>
            <a:ext cx="5372100" cy="2286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Ensures marketing is relevant, ethical and patient centered</a:t>
            </a:r>
            <a:endParaRPr lang="en-US" sz="1400" dirty="0">
              <a:solidFill>
                <a:prstClr val="black"/>
              </a:solidFill>
              <a:latin typeface="Calibri" panose="020F0502020204030204"/>
            </a:endParaRPr>
          </a:p>
        </p:txBody>
      </p:sp>
      <p:sp>
        <p:nvSpPr>
          <p:cNvPr id="22" name="Shape 16"/>
          <p:cNvSpPr/>
          <p:nvPr/>
        </p:nvSpPr>
        <p:spPr>
          <a:xfrm>
            <a:off x="6451601" y="4724400"/>
            <a:ext cx="4991100" cy="4572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23" name="Image 4" descr="preencoded.png"/>
          <p:cNvPicPr>
            <a:picLocks noChangeAspect="1"/>
          </p:cNvPicPr>
          <p:nvPr/>
        </p:nvPicPr>
        <p:blipFill>
          <a:blip r:embed="rId3"/>
          <a:stretch>
            <a:fillRect/>
          </a:stretch>
        </p:blipFill>
        <p:spPr>
          <a:xfrm>
            <a:off x="6451600" y="4724400"/>
            <a:ext cx="127000" cy="279400"/>
          </a:xfrm>
          <a:prstGeom prst="rect">
            <a:avLst/>
          </a:prstGeom>
        </p:spPr>
      </p:pic>
      <p:sp>
        <p:nvSpPr>
          <p:cNvPr id="24" name="Text 17"/>
          <p:cNvSpPr/>
          <p:nvPr/>
        </p:nvSpPr>
        <p:spPr>
          <a:xfrm>
            <a:off x="6680201" y="4724400"/>
            <a:ext cx="5372100" cy="4572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Marketing taken care of - spend less time on promotion, </a:t>
            </a:r>
          </a:p>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more time on growing your business and delivering care</a:t>
            </a:r>
            <a:endParaRPr lang="en-US" sz="1400" dirty="0">
              <a:solidFill>
                <a:prstClr val="black"/>
              </a:solidFill>
              <a:latin typeface="Calibri" panose="020F0502020204030204"/>
            </a:endParaRPr>
          </a:p>
        </p:txBody>
      </p:sp>
      <p:sp>
        <p:nvSpPr>
          <p:cNvPr id="25" name="Shape 18"/>
          <p:cNvSpPr/>
          <p:nvPr/>
        </p:nvSpPr>
        <p:spPr>
          <a:xfrm>
            <a:off x="355599" y="2305051"/>
            <a:ext cx="5626100" cy="4152900"/>
          </a:xfrm>
          <a:prstGeom prst="roundRect">
            <a:avLst>
              <a:gd name="adj" fmla="val 7046"/>
            </a:avLst>
          </a:prstGeom>
          <a:solidFill>
            <a:schemeClr val="bg1"/>
          </a:solidFill>
          <a:ln>
            <a:solidFill>
              <a:schemeClr val="bg2"/>
            </a:solidFill>
          </a:ln>
        </p:spPr>
        <p:txBody>
          <a:bodyPr/>
          <a:lstStyle/>
          <a:p>
            <a:pPr defTabSz="1219170"/>
            <a:endParaRPr lang="en-GB" sz="2400">
              <a:solidFill>
                <a:prstClr val="black"/>
              </a:solidFill>
              <a:latin typeface="Calibri" panose="020F0502020204030204"/>
            </a:endParaRPr>
          </a:p>
        </p:txBody>
      </p:sp>
      <p:sp>
        <p:nvSpPr>
          <p:cNvPr id="26" name="Text 19"/>
          <p:cNvSpPr/>
          <p:nvPr/>
        </p:nvSpPr>
        <p:spPr>
          <a:xfrm>
            <a:off x="558800" y="2508250"/>
            <a:ext cx="3244851" cy="292100"/>
          </a:xfrm>
          <a:prstGeom prst="rect">
            <a:avLst/>
          </a:prstGeom>
          <a:noFill/>
          <a:ln/>
        </p:spPr>
        <p:txBody>
          <a:bodyPr wrap="square" rtlCol="0" anchor="ctr"/>
          <a:lstStyle/>
          <a:p>
            <a:pPr defTabSz="1219170">
              <a:lnSpc>
                <a:spcPts val="2280"/>
              </a:lnSpc>
            </a:pPr>
            <a:r>
              <a:rPr lang="en-US" sz="1900" b="1" kern="0" spc="-37" dirty="0">
                <a:solidFill>
                  <a:srgbClr val="01240E">
                    <a:alpha val="99000"/>
                  </a:srgbClr>
                </a:solidFill>
                <a:latin typeface="DM Sans" pitchFamily="34" charset="0"/>
                <a:ea typeface="DM Sans" pitchFamily="34" charset="-122"/>
                <a:cs typeface="DM Sans" pitchFamily="34" charset="-120"/>
              </a:rPr>
              <a:t>This includes</a:t>
            </a:r>
            <a:endParaRPr lang="en-US" sz="1900" dirty="0">
              <a:solidFill>
                <a:prstClr val="black"/>
              </a:solidFill>
              <a:latin typeface="Calibri" panose="020F0502020204030204"/>
            </a:endParaRPr>
          </a:p>
        </p:txBody>
      </p:sp>
      <p:sp>
        <p:nvSpPr>
          <p:cNvPr id="27" name="Shape 20"/>
          <p:cNvSpPr/>
          <p:nvPr/>
        </p:nvSpPr>
        <p:spPr>
          <a:xfrm>
            <a:off x="558800" y="2927351"/>
            <a:ext cx="5181600" cy="3327400"/>
          </a:xfrm>
          <a:prstGeom prst="rect">
            <a:avLst/>
          </a:prstGeom>
          <a:noFill/>
          <a:ln/>
        </p:spPr>
        <p:txBody>
          <a:bodyPr/>
          <a:lstStyle/>
          <a:p>
            <a:pPr defTabSz="1219170"/>
            <a:endParaRPr lang="en-GB" sz="2400">
              <a:solidFill>
                <a:prstClr val="black"/>
              </a:solidFill>
              <a:latin typeface="Calibri" panose="020F0502020204030204"/>
            </a:endParaRPr>
          </a:p>
        </p:txBody>
      </p:sp>
      <p:sp>
        <p:nvSpPr>
          <p:cNvPr id="28" name="Shape 21"/>
          <p:cNvSpPr/>
          <p:nvPr/>
        </p:nvSpPr>
        <p:spPr>
          <a:xfrm>
            <a:off x="558800" y="2927351"/>
            <a:ext cx="5181600" cy="3327400"/>
          </a:xfrm>
          <a:prstGeom prst="rect">
            <a:avLst/>
          </a:prstGeom>
          <a:noFill/>
          <a:ln/>
        </p:spPr>
        <p:txBody>
          <a:bodyPr/>
          <a:lstStyle/>
          <a:p>
            <a:pPr defTabSz="1219170"/>
            <a:endParaRPr lang="en-GB" sz="2400">
              <a:solidFill>
                <a:prstClr val="black"/>
              </a:solidFill>
              <a:latin typeface="Calibri" panose="020F0502020204030204"/>
            </a:endParaRPr>
          </a:p>
        </p:txBody>
      </p:sp>
      <p:sp>
        <p:nvSpPr>
          <p:cNvPr id="29" name="Shape 22"/>
          <p:cNvSpPr/>
          <p:nvPr/>
        </p:nvSpPr>
        <p:spPr>
          <a:xfrm>
            <a:off x="558800" y="2927351"/>
            <a:ext cx="5181600" cy="2794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30" name="Image 5" descr="preencoded.png"/>
          <p:cNvPicPr>
            <a:picLocks noChangeAspect="1"/>
          </p:cNvPicPr>
          <p:nvPr/>
        </p:nvPicPr>
        <p:blipFill>
          <a:blip r:embed="rId3"/>
          <a:stretch>
            <a:fillRect/>
          </a:stretch>
        </p:blipFill>
        <p:spPr>
          <a:xfrm>
            <a:off x="558800" y="2927351"/>
            <a:ext cx="127000" cy="279400"/>
          </a:xfrm>
          <a:prstGeom prst="rect">
            <a:avLst/>
          </a:prstGeom>
        </p:spPr>
      </p:pic>
      <p:sp>
        <p:nvSpPr>
          <p:cNvPr id="31" name="Text 23"/>
          <p:cNvSpPr/>
          <p:nvPr/>
        </p:nvSpPr>
        <p:spPr>
          <a:xfrm>
            <a:off x="787400" y="2927351"/>
            <a:ext cx="5562600" cy="2286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Local campaign planning: to identify priority patient groups</a:t>
            </a:r>
            <a:endParaRPr lang="en-US" sz="1400" dirty="0">
              <a:solidFill>
                <a:prstClr val="black"/>
              </a:solidFill>
              <a:latin typeface="Calibri" panose="020F0502020204030204"/>
            </a:endParaRPr>
          </a:p>
        </p:txBody>
      </p:sp>
      <p:sp>
        <p:nvSpPr>
          <p:cNvPr id="32" name="Shape 24"/>
          <p:cNvSpPr/>
          <p:nvPr/>
        </p:nvSpPr>
        <p:spPr>
          <a:xfrm>
            <a:off x="558800" y="3359151"/>
            <a:ext cx="5181600" cy="4572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33" name="Image 6" descr="preencoded.png"/>
          <p:cNvPicPr>
            <a:picLocks noChangeAspect="1"/>
          </p:cNvPicPr>
          <p:nvPr/>
        </p:nvPicPr>
        <p:blipFill>
          <a:blip r:embed="rId3"/>
          <a:stretch>
            <a:fillRect/>
          </a:stretch>
        </p:blipFill>
        <p:spPr>
          <a:xfrm>
            <a:off x="558800" y="3359151"/>
            <a:ext cx="127000" cy="279400"/>
          </a:xfrm>
          <a:prstGeom prst="rect">
            <a:avLst/>
          </a:prstGeom>
        </p:spPr>
      </p:pic>
      <p:sp>
        <p:nvSpPr>
          <p:cNvPr id="34" name="Text 25"/>
          <p:cNvSpPr/>
          <p:nvPr/>
        </p:nvSpPr>
        <p:spPr>
          <a:xfrm>
            <a:off x="787401" y="3359151"/>
            <a:ext cx="5422900" cy="4572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Pharmacy branded marketing assets: social posts, posters, window visuals and leaflets</a:t>
            </a:r>
            <a:endParaRPr lang="en-US" sz="1400" dirty="0">
              <a:solidFill>
                <a:prstClr val="black"/>
              </a:solidFill>
              <a:latin typeface="Calibri" panose="020F0502020204030204"/>
            </a:endParaRPr>
          </a:p>
        </p:txBody>
      </p:sp>
      <p:sp>
        <p:nvSpPr>
          <p:cNvPr id="35" name="Shape 26"/>
          <p:cNvSpPr/>
          <p:nvPr/>
        </p:nvSpPr>
        <p:spPr>
          <a:xfrm>
            <a:off x="558801" y="3968751"/>
            <a:ext cx="4991100" cy="4572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36" name="Image 7" descr="preencoded.png"/>
          <p:cNvPicPr>
            <a:picLocks noChangeAspect="1"/>
          </p:cNvPicPr>
          <p:nvPr/>
        </p:nvPicPr>
        <p:blipFill>
          <a:blip r:embed="rId3"/>
          <a:stretch>
            <a:fillRect/>
          </a:stretch>
        </p:blipFill>
        <p:spPr>
          <a:xfrm>
            <a:off x="558800" y="3968751"/>
            <a:ext cx="127000" cy="279400"/>
          </a:xfrm>
          <a:prstGeom prst="rect">
            <a:avLst/>
          </a:prstGeom>
        </p:spPr>
      </p:pic>
      <p:sp>
        <p:nvSpPr>
          <p:cNvPr id="37" name="Text 27"/>
          <p:cNvSpPr/>
          <p:nvPr/>
        </p:nvSpPr>
        <p:spPr>
          <a:xfrm>
            <a:off x="781449" y="3968751"/>
            <a:ext cx="4937521" cy="463152"/>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In pharmacy training: to equip counter staff to answer patient questions and support uptake</a:t>
            </a:r>
            <a:endParaRPr lang="en-US" sz="1400" dirty="0">
              <a:solidFill>
                <a:prstClr val="black"/>
              </a:solidFill>
              <a:latin typeface="Calibri" panose="020F0502020204030204"/>
            </a:endParaRPr>
          </a:p>
        </p:txBody>
      </p:sp>
      <p:sp>
        <p:nvSpPr>
          <p:cNvPr id="38" name="Shape 28"/>
          <p:cNvSpPr/>
          <p:nvPr/>
        </p:nvSpPr>
        <p:spPr>
          <a:xfrm>
            <a:off x="558801" y="4578351"/>
            <a:ext cx="4991100" cy="4572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39" name="Image 8" descr="preencoded.png"/>
          <p:cNvPicPr>
            <a:picLocks noChangeAspect="1"/>
          </p:cNvPicPr>
          <p:nvPr/>
        </p:nvPicPr>
        <p:blipFill>
          <a:blip r:embed="rId3"/>
          <a:stretch>
            <a:fillRect/>
          </a:stretch>
        </p:blipFill>
        <p:spPr>
          <a:xfrm>
            <a:off x="558800" y="4578351"/>
            <a:ext cx="127000" cy="279400"/>
          </a:xfrm>
          <a:prstGeom prst="rect">
            <a:avLst/>
          </a:prstGeom>
        </p:spPr>
      </p:pic>
      <p:sp>
        <p:nvSpPr>
          <p:cNvPr id="40" name="Text 29"/>
          <p:cNvSpPr/>
          <p:nvPr/>
        </p:nvSpPr>
        <p:spPr>
          <a:xfrm>
            <a:off x="787401" y="4578351"/>
            <a:ext cx="5372100" cy="4572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Community activation: events, seasonal campaigns and referral prompts to increase awareness</a:t>
            </a:r>
            <a:endParaRPr lang="en-US" sz="1400" dirty="0">
              <a:solidFill>
                <a:prstClr val="black"/>
              </a:solidFill>
              <a:latin typeface="Calibri" panose="020F0502020204030204"/>
            </a:endParaRPr>
          </a:p>
        </p:txBody>
      </p:sp>
      <p:sp>
        <p:nvSpPr>
          <p:cNvPr id="41" name="Shape 30"/>
          <p:cNvSpPr/>
          <p:nvPr/>
        </p:nvSpPr>
        <p:spPr>
          <a:xfrm>
            <a:off x="558801" y="5187949"/>
            <a:ext cx="4991100" cy="457200"/>
          </a:xfrm>
          <a:prstGeom prst="rect">
            <a:avLst/>
          </a:prstGeom>
          <a:noFill/>
          <a:ln/>
        </p:spPr>
        <p:txBody>
          <a:bodyPr/>
          <a:lstStyle/>
          <a:p>
            <a:pPr defTabSz="1219170"/>
            <a:endParaRPr lang="en-GB" sz="2400">
              <a:solidFill>
                <a:prstClr val="black"/>
              </a:solidFill>
              <a:latin typeface="Calibri" panose="020F0502020204030204"/>
            </a:endParaRPr>
          </a:p>
        </p:txBody>
      </p:sp>
      <p:sp>
        <p:nvSpPr>
          <p:cNvPr id="44" name="Shape 32"/>
          <p:cNvSpPr/>
          <p:nvPr/>
        </p:nvSpPr>
        <p:spPr>
          <a:xfrm>
            <a:off x="558801" y="5797551"/>
            <a:ext cx="4991100" cy="457200"/>
          </a:xfrm>
          <a:prstGeom prst="rect">
            <a:avLst/>
          </a:prstGeom>
          <a:noFill/>
          <a:ln/>
        </p:spPr>
        <p:txBody>
          <a:bodyPr/>
          <a:lstStyle/>
          <a:p>
            <a:pPr defTabSz="1219170"/>
            <a:endParaRPr lang="en-GB" sz="2400">
              <a:solidFill>
                <a:prstClr val="black"/>
              </a:solidFill>
              <a:latin typeface="Calibri" panose="020F0502020204030204"/>
            </a:endParaRPr>
          </a:p>
        </p:txBody>
      </p:sp>
      <p:pic>
        <p:nvPicPr>
          <p:cNvPr id="45" name="Image 10" descr="preencoded.png"/>
          <p:cNvPicPr>
            <a:picLocks noChangeAspect="1"/>
          </p:cNvPicPr>
          <p:nvPr/>
        </p:nvPicPr>
        <p:blipFill>
          <a:blip r:embed="rId3"/>
          <a:stretch>
            <a:fillRect/>
          </a:stretch>
        </p:blipFill>
        <p:spPr>
          <a:xfrm>
            <a:off x="580571" y="5327649"/>
            <a:ext cx="127000" cy="279400"/>
          </a:xfrm>
          <a:prstGeom prst="rect">
            <a:avLst/>
          </a:prstGeom>
        </p:spPr>
      </p:pic>
      <p:sp>
        <p:nvSpPr>
          <p:cNvPr id="46" name="Text 33"/>
          <p:cNvSpPr/>
          <p:nvPr/>
        </p:nvSpPr>
        <p:spPr>
          <a:xfrm>
            <a:off x="774701" y="5340351"/>
            <a:ext cx="5372100" cy="457200"/>
          </a:xfrm>
          <a:prstGeom prst="rect">
            <a:avLst/>
          </a:prstGeom>
          <a:noFill/>
          <a:ln/>
        </p:spPr>
        <p:txBody>
          <a:bodyPr wrap="square" rtlCol="0" anchor="ctr"/>
          <a:lstStyle/>
          <a:p>
            <a:pPr defTabSz="1219170">
              <a:lnSpc>
                <a:spcPts val="1820"/>
              </a:lnSpc>
            </a:pPr>
            <a:r>
              <a:rPr lang="en-US" sz="1400" dirty="0">
                <a:solidFill>
                  <a:srgbClr val="01240E">
                    <a:alpha val="99000"/>
                  </a:srgbClr>
                </a:solidFill>
                <a:latin typeface="DM Sans" pitchFamily="34" charset="0"/>
                <a:ea typeface="DM Sans" pitchFamily="34" charset="-122"/>
                <a:cs typeface="DM Sans" pitchFamily="34" charset="-120"/>
              </a:rPr>
              <a:t>Test, learn and refine: providing insights to focus time and effort where is delivers the most value</a:t>
            </a:r>
            <a:endParaRPr lang="en-US" sz="1400" dirty="0">
              <a:solidFill>
                <a:prstClr val="black"/>
              </a:solidFill>
              <a:latin typeface="Calibri" panose="020F0502020204030204"/>
            </a:endParaRPr>
          </a:p>
        </p:txBody>
      </p:sp>
      <p:sp>
        <p:nvSpPr>
          <p:cNvPr id="47" name="Text 34"/>
          <p:cNvSpPr/>
          <p:nvPr/>
        </p:nvSpPr>
        <p:spPr>
          <a:xfrm>
            <a:off x="6158706" y="5548370"/>
            <a:ext cx="5667375" cy="908445"/>
          </a:xfrm>
          <a:prstGeom prst="rect">
            <a:avLst/>
          </a:prstGeom>
          <a:noFill/>
          <a:ln/>
        </p:spPr>
        <p:txBody>
          <a:bodyPr wrap="square" lIns="121920" tIns="60960" rIns="121920" bIns="60960" rtlCol="0" anchor="ctr"/>
          <a:lstStyle/>
          <a:p>
            <a:pPr algn="ctr" defTabSz="1219170">
              <a:lnSpc>
                <a:spcPts val="2376"/>
              </a:lnSpc>
            </a:pPr>
            <a:r>
              <a:rPr lang="en-US" b="1" kern="0" spc="-36" dirty="0">
                <a:solidFill>
                  <a:srgbClr val="16A34A">
                    <a:alpha val="99000"/>
                  </a:srgbClr>
                </a:solidFill>
                <a:latin typeface="DM Sans"/>
                <a:ea typeface="DM Sans" pitchFamily="34" charset="-122"/>
                <a:cs typeface="DM Sans" pitchFamily="34" charset="-120"/>
              </a:rPr>
              <a:t>We provide the tools, training and support so you can </a:t>
            </a:r>
            <a:r>
              <a:rPr lang="en-US" b="1" kern="0" spc="-36" dirty="0" err="1">
                <a:solidFill>
                  <a:srgbClr val="16A34A">
                    <a:alpha val="99000"/>
                  </a:srgbClr>
                </a:solidFill>
                <a:latin typeface="DM Sans"/>
                <a:ea typeface="DM Sans" pitchFamily="34" charset="-122"/>
                <a:cs typeface="DM Sans" pitchFamily="34" charset="-120"/>
              </a:rPr>
              <a:t>prioritise</a:t>
            </a:r>
            <a:r>
              <a:rPr lang="en-US" b="1" kern="0" spc="-36" dirty="0">
                <a:solidFill>
                  <a:srgbClr val="16A34A">
                    <a:alpha val="99000"/>
                  </a:srgbClr>
                </a:solidFill>
                <a:latin typeface="DM Sans"/>
                <a:ea typeface="DM Sans" pitchFamily="34" charset="-122"/>
                <a:cs typeface="DM Sans" pitchFamily="34" charset="-120"/>
              </a:rPr>
              <a:t> patient care and growing your business.</a:t>
            </a:r>
            <a:endParaRPr lang="en-US" dirty="0">
              <a:solidFill>
                <a:prstClr val="black"/>
              </a:solidFill>
              <a:latin typeface="DM Sans"/>
              <a:ea typeface="Calibri" panose="020F0502020204030204"/>
              <a:cs typeface="Calibri" panose="020F0502020204030204"/>
            </a:endParaRPr>
          </a:p>
        </p:txBody>
      </p:sp>
    </p:spTree>
    <p:extLst>
      <p:ext uri="{BB962C8B-B14F-4D97-AF65-F5344CB8AC3E}">
        <p14:creationId xmlns:p14="http://schemas.microsoft.com/office/powerpoint/2010/main" val="1683201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a:extLst>
            <a:ext uri="{FF2B5EF4-FFF2-40B4-BE49-F238E27FC236}">
              <a16:creationId xmlns:a16="http://schemas.microsoft.com/office/drawing/2014/main" id="{17A752E3-4832-BB5B-4546-723E39F299A1}"/>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47748D7B-47B8-D9D8-A9A5-FCE0D81C47E7}"/>
              </a:ext>
            </a:extLst>
          </p:cNvPr>
          <p:cNvSpPr/>
          <p:nvPr/>
        </p:nvSpPr>
        <p:spPr>
          <a:xfrm>
            <a:off x="515824" y="276268"/>
            <a:ext cx="5660187" cy="279024"/>
          </a:xfrm>
          <a:prstGeom prst="rect">
            <a:avLst/>
          </a:prstGeom>
          <a:noFill/>
          <a:ln/>
        </p:spPr>
        <p:txBody>
          <a:bodyPr wrap="square" rtlCol="0" anchor="ctr"/>
          <a:lstStyle/>
          <a:p>
            <a:pPr defTabSz="1219170">
              <a:lnSpc>
                <a:spcPts val="2880"/>
              </a:lnSpc>
              <a:defRPr/>
            </a:pPr>
            <a:r>
              <a:rPr lang="en-US" sz="2400" b="1" kern="0" spc="-48" dirty="0">
                <a:solidFill>
                  <a:srgbClr val="01240E">
                    <a:alpha val="99000"/>
                  </a:srgbClr>
                </a:solidFill>
                <a:latin typeface="DM Sans" pitchFamily="34" charset="0"/>
                <a:ea typeface="DM Sans" pitchFamily="34" charset="-122"/>
                <a:cs typeface="DM Sans" pitchFamily="34" charset="-120"/>
              </a:rPr>
              <a:t>Marketing Resources</a:t>
            </a:r>
            <a:endParaRPr lang="en-US" sz="2400" dirty="0">
              <a:solidFill>
                <a:prstClr val="black"/>
              </a:solidFill>
              <a:latin typeface="Calibri" panose="020F0502020204030204"/>
            </a:endParaRPr>
          </a:p>
        </p:txBody>
      </p:sp>
      <p:sp>
        <p:nvSpPr>
          <p:cNvPr id="3" name="Shape 1">
            <a:extLst>
              <a:ext uri="{FF2B5EF4-FFF2-40B4-BE49-F238E27FC236}">
                <a16:creationId xmlns:a16="http://schemas.microsoft.com/office/drawing/2014/main" id="{1433C58C-01AD-DC01-5A95-4E4FE396833E}"/>
              </a:ext>
            </a:extLst>
          </p:cNvPr>
          <p:cNvSpPr/>
          <p:nvPr/>
        </p:nvSpPr>
        <p:spPr>
          <a:xfrm>
            <a:off x="3522432" y="1263651"/>
            <a:ext cx="4554768" cy="3430077"/>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6" name="Shape 3">
            <a:extLst>
              <a:ext uri="{FF2B5EF4-FFF2-40B4-BE49-F238E27FC236}">
                <a16:creationId xmlns:a16="http://schemas.microsoft.com/office/drawing/2014/main" id="{6AD9C1D4-DB85-2EC2-FA51-9E44C7E2FC7D}"/>
              </a:ext>
            </a:extLst>
          </p:cNvPr>
          <p:cNvSpPr/>
          <p:nvPr/>
        </p:nvSpPr>
        <p:spPr>
          <a:xfrm>
            <a:off x="1818163" y="2051052"/>
            <a:ext cx="1896588" cy="2434248"/>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11" name="Shape 7">
            <a:extLst>
              <a:ext uri="{FF2B5EF4-FFF2-40B4-BE49-F238E27FC236}">
                <a16:creationId xmlns:a16="http://schemas.microsoft.com/office/drawing/2014/main" id="{ECC82792-BA90-6B0B-CE4A-4B205A881782}"/>
              </a:ext>
            </a:extLst>
          </p:cNvPr>
          <p:cNvSpPr/>
          <p:nvPr/>
        </p:nvSpPr>
        <p:spPr>
          <a:xfrm>
            <a:off x="5836925" y="2051051"/>
            <a:ext cx="2037076" cy="221295"/>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5" name="Shape 2">
            <a:extLst>
              <a:ext uri="{FF2B5EF4-FFF2-40B4-BE49-F238E27FC236}">
                <a16:creationId xmlns:a16="http://schemas.microsoft.com/office/drawing/2014/main" id="{EAFECF40-5055-B9DB-53E3-24982379D85F}"/>
              </a:ext>
            </a:extLst>
          </p:cNvPr>
          <p:cNvSpPr/>
          <p:nvPr/>
        </p:nvSpPr>
        <p:spPr>
          <a:xfrm>
            <a:off x="345909" y="772159"/>
            <a:ext cx="11581931" cy="5809572"/>
          </a:xfrm>
          <a:prstGeom prst="roundRect">
            <a:avLst>
              <a:gd name="adj" fmla="val 7986"/>
            </a:avLst>
          </a:prstGeom>
          <a:solidFill>
            <a:schemeClr val="bg1"/>
          </a:solidFill>
          <a:ln>
            <a:solidFill>
              <a:schemeClr val="bg2"/>
            </a:solidFill>
          </a:ln>
        </p:spPr>
        <p:txBody>
          <a:bodyPr lIns="121920" tIns="60960" rIns="121920" bIns="60960" anchor="t"/>
          <a:lstStyle/>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endParaRPr lang="en-GB" sz="1400" dirty="0">
              <a:solidFill>
                <a:prstClr val="black"/>
              </a:solidFill>
              <a:latin typeface="DM Sans" pitchFamily="2" charset="0"/>
            </a:endParaRPr>
          </a:p>
          <a:p>
            <a:pPr defTabSz="1219170">
              <a:defRPr/>
            </a:pPr>
            <a:r>
              <a:rPr lang="en-GB" sz="1400" dirty="0">
                <a:solidFill>
                  <a:prstClr val="black"/>
                </a:solidFill>
                <a:latin typeface="DM Sans" pitchFamily="2" charset="0"/>
              </a:rPr>
              <a:t>					     </a:t>
            </a:r>
            <a:r>
              <a:rPr lang="en-GB" sz="1400" b="1" dirty="0">
                <a:solidFill>
                  <a:srgbClr val="199044"/>
                </a:solidFill>
                <a:latin typeface="DM Sans" pitchFamily="2" charset="0"/>
              </a:rPr>
              <a:t>Rolling PDF’s and short 10 seconds videos for TV’ / 						     counter tops screens available </a:t>
            </a:r>
          </a:p>
        </p:txBody>
      </p:sp>
      <p:pic>
        <p:nvPicPr>
          <p:cNvPr id="16" name="Picture 15">
            <a:extLst>
              <a:ext uri="{FF2B5EF4-FFF2-40B4-BE49-F238E27FC236}">
                <a16:creationId xmlns:a16="http://schemas.microsoft.com/office/drawing/2014/main" id="{DE69A882-1589-5D5B-3CC2-E19E3150AEA2}"/>
              </a:ext>
            </a:extLst>
          </p:cNvPr>
          <p:cNvPicPr>
            <a:picLocks noChangeAspect="1"/>
          </p:cNvPicPr>
          <p:nvPr/>
        </p:nvPicPr>
        <p:blipFill>
          <a:blip r:embed="rId3"/>
          <a:stretch>
            <a:fillRect/>
          </a:stretch>
        </p:blipFill>
        <p:spPr>
          <a:xfrm>
            <a:off x="3613692" y="846435"/>
            <a:ext cx="1651441" cy="2409232"/>
          </a:xfrm>
          <a:prstGeom prst="rect">
            <a:avLst/>
          </a:prstGeom>
        </p:spPr>
      </p:pic>
      <p:pic>
        <p:nvPicPr>
          <p:cNvPr id="14" name="Picture 13">
            <a:extLst>
              <a:ext uri="{FF2B5EF4-FFF2-40B4-BE49-F238E27FC236}">
                <a16:creationId xmlns:a16="http://schemas.microsoft.com/office/drawing/2014/main" id="{BFE66DBA-3509-837A-BFFF-AC3FBCCE0511}"/>
              </a:ext>
            </a:extLst>
          </p:cNvPr>
          <p:cNvPicPr>
            <a:picLocks noChangeAspect="1"/>
          </p:cNvPicPr>
          <p:nvPr/>
        </p:nvPicPr>
        <p:blipFill>
          <a:blip r:embed="rId4"/>
          <a:stretch>
            <a:fillRect/>
          </a:stretch>
        </p:blipFill>
        <p:spPr>
          <a:xfrm>
            <a:off x="2615563" y="1161355"/>
            <a:ext cx="1742700" cy="2434248"/>
          </a:xfrm>
          <a:prstGeom prst="rect">
            <a:avLst/>
          </a:prstGeom>
        </p:spPr>
      </p:pic>
      <p:pic>
        <p:nvPicPr>
          <p:cNvPr id="10" name="Picture 9">
            <a:extLst>
              <a:ext uri="{FF2B5EF4-FFF2-40B4-BE49-F238E27FC236}">
                <a16:creationId xmlns:a16="http://schemas.microsoft.com/office/drawing/2014/main" id="{8691DA35-8DB1-36A6-6B87-729BA4828519}"/>
              </a:ext>
            </a:extLst>
          </p:cNvPr>
          <p:cNvPicPr>
            <a:picLocks noChangeAspect="1"/>
          </p:cNvPicPr>
          <p:nvPr/>
        </p:nvPicPr>
        <p:blipFill>
          <a:blip r:embed="rId5"/>
          <a:stretch>
            <a:fillRect/>
          </a:stretch>
        </p:blipFill>
        <p:spPr>
          <a:xfrm>
            <a:off x="1781591" y="1547474"/>
            <a:ext cx="1558683" cy="2363049"/>
          </a:xfrm>
          <a:prstGeom prst="rect">
            <a:avLst/>
          </a:prstGeom>
        </p:spPr>
      </p:pic>
      <p:pic>
        <p:nvPicPr>
          <p:cNvPr id="8" name="Picture 7">
            <a:extLst>
              <a:ext uri="{FF2B5EF4-FFF2-40B4-BE49-F238E27FC236}">
                <a16:creationId xmlns:a16="http://schemas.microsoft.com/office/drawing/2014/main" id="{073D71B0-CBE7-DB45-889E-C3FDBAF65DE5}"/>
              </a:ext>
            </a:extLst>
          </p:cNvPr>
          <p:cNvPicPr>
            <a:picLocks noChangeAspect="1"/>
          </p:cNvPicPr>
          <p:nvPr/>
        </p:nvPicPr>
        <p:blipFill>
          <a:blip r:embed="rId6"/>
          <a:stretch>
            <a:fillRect/>
          </a:stretch>
        </p:blipFill>
        <p:spPr>
          <a:xfrm>
            <a:off x="791294" y="2065409"/>
            <a:ext cx="1668751" cy="2363049"/>
          </a:xfrm>
          <a:prstGeom prst="rect">
            <a:avLst/>
          </a:prstGeom>
        </p:spPr>
      </p:pic>
      <p:pic>
        <p:nvPicPr>
          <p:cNvPr id="18" name="Picture 17">
            <a:extLst>
              <a:ext uri="{FF2B5EF4-FFF2-40B4-BE49-F238E27FC236}">
                <a16:creationId xmlns:a16="http://schemas.microsoft.com/office/drawing/2014/main" id="{CFBD2E4A-C65C-60E7-EB8E-DC8E65E92551}"/>
              </a:ext>
            </a:extLst>
          </p:cNvPr>
          <p:cNvPicPr>
            <a:picLocks noChangeAspect="1"/>
          </p:cNvPicPr>
          <p:nvPr/>
        </p:nvPicPr>
        <p:blipFill>
          <a:blip r:embed="rId7"/>
          <a:stretch>
            <a:fillRect/>
          </a:stretch>
        </p:blipFill>
        <p:spPr>
          <a:xfrm>
            <a:off x="9223928" y="921600"/>
            <a:ext cx="2370693" cy="3430077"/>
          </a:xfrm>
          <a:prstGeom prst="rect">
            <a:avLst/>
          </a:prstGeom>
        </p:spPr>
      </p:pic>
      <p:pic>
        <p:nvPicPr>
          <p:cNvPr id="20" name="Picture 19">
            <a:extLst>
              <a:ext uri="{FF2B5EF4-FFF2-40B4-BE49-F238E27FC236}">
                <a16:creationId xmlns:a16="http://schemas.microsoft.com/office/drawing/2014/main" id="{5043A9C2-3756-90A9-7378-62C01A7F8EDD}"/>
              </a:ext>
            </a:extLst>
          </p:cNvPr>
          <p:cNvPicPr>
            <a:picLocks noChangeAspect="1"/>
          </p:cNvPicPr>
          <p:nvPr/>
        </p:nvPicPr>
        <p:blipFill>
          <a:blip r:embed="rId8"/>
          <a:stretch>
            <a:fillRect/>
          </a:stretch>
        </p:blipFill>
        <p:spPr>
          <a:xfrm>
            <a:off x="6525381" y="923715"/>
            <a:ext cx="2495348" cy="3510516"/>
          </a:xfrm>
          <a:prstGeom prst="rect">
            <a:avLst/>
          </a:prstGeom>
        </p:spPr>
      </p:pic>
      <p:pic>
        <p:nvPicPr>
          <p:cNvPr id="22" name="Picture 21">
            <a:extLst>
              <a:ext uri="{FF2B5EF4-FFF2-40B4-BE49-F238E27FC236}">
                <a16:creationId xmlns:a16="http://schemas.microsoft.com/office/drawing/2014/main" id="{C1917D15-1F53-D9D5-C94E-70431B4D63C5}"/>
              </a:ext>
            </a:extLst>
          </p:cNvPr>
          <p:cNvPicPr>
            <a:picLocks noChangeAspect="1"/>
          </p:cNvPicPr>
          <p:nvPr/>
        </p:nvPicPr>
        <p:blipFill>
          <a:blip r:embed="rId9"/>
          <a:stretch>
            <a:fillRect/>
          </a:stretch>
        </p:blipFill>
        <p:spPr>
          <a:xfrm>
            <a:off x="2766457" y="4212803"/>
            <a:ext cx="1865617" cy="1894543"/>
          </a:xfrm>
          <a:prstGeom prst="rect">
            <a:avLst/>
          </a:prstGeom>
        </p:spPr>
      </p:pic>
      <p:pic>
        <p:nvPicPr>
          <p:cNvPr id="24" name="Picture 23">
            <a:extLst>
              <a:ext uri="{FF2B5EF4-FFF2-40B4-BE49-F238E27FC236}">
                <a16:creationId xmlns:a16="http://schemas.microsoft.com/office/drawing/2014/main" id="{B08B3B79-2534-0737-D774-3DE0CB087589}"/>
              </a:ext>
            </a:extLst>
          </p:cNvPr>
          <p:cNvPicPr>
            <a:picLocks noChangeAspect="1"/>
          </p:cNvPicPr>
          <p:nvPr/>
        </p:nvPicPr>
        <p:blipFill>
          <a:blip r:embed="rId10"/>
          <a:stretch>
            <a:fillRect/>
          </a:stretch>
        </p:blipFill>
        <p:spPr>
          <a:xfrm>
            <a:off x="4632074" y="4239646"/>
            <a:ext cx="1866653" cy="1891149"/>
          </a:xfrm>
          <a:prstGeom prst="rect">
            <a:avLst/>
          </a:prstGeom>
        </p:spPr>
      </p:pic>
    </p:spTree>
    <p:extLst>
      <p:ext uri="{BB962C8B-B14F-4D97-AF65-F5344CB8AC3E}">
        <p14:creationId xmlns:p14="http://schemas.microsoft.com/office/powerpoint/2010/main" val="2960033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1240E"/>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8F9C92-F322-C53C-F190-AB5D1A5F3D23}"/>
              </a:ext>
            </a:extLst>
          </p:cNvPr>
          <p:cNvGrpSpPr/>
          <p:nvPr/>
        </p:nvGrpSpPr>
        <p:grpSpPr>
          <a:xfrm>
            <a:off x="514352" y="5695951"/>
            <a:ext cx="3623609" cy="710875"/>
            <a:chOff x="385763" y="4271963"/>
            <a:chExt cx="2717707" cy="533156"/>
          </a:xfrm>
        </p:grpSpPr>
        <p:pic>
          <p:nvPicPr>
            <p:cNvPr id="4" name="Image 0" descr="preencoded.png"/>
            <p:cNvPicPr>
              <a:picLocks noChangeAspect="1"/>
            </p:cNvPicPr>
            <p:nvPr/>
          </p:nvPicPr>
          <p:blipFill>
            <a:blip r:embed="rId3"/>
            <a:stretch>
              <a:fillRect/>
            </a:stretch>
          </p:blipFill>
          <p:spPr>
            <a:xfrm>
              <a:off x="2919066" y="4404042"/>
              <a:ext cx="184404" cy="258445"/>
            </a:xfrm>
            <a:prstGeom prst="rect">
              <a:avLst/>
            </a:prstGeom>
          </p:spPr>
        </p:pic>
        <p:pic>
          <p:nvPicPr>
            <p:cNvPr id="5" name="Image 1" descr="preencoded.png"/>
            <p:cNvPicPr>
              <a:picLocks noChangeAspect="1"/>
            </p:cNvPicPr>
            <p:nvPr/>
          </p:nvPicPr>
          <p:blipFill>
            <a:blip r:embed="rId4"/>
            <a:stretch>
              <a:fillRect/>
            </a:stretch>
          </p:blipFill>
          <p:spPr>
            <a:xfrm>
              <a:off x="2768296" y="4421155"/>
              <a:ext cx="115602" cy="241332"/>
            </a:xfrm>
            <a:prstGeom prst="rect">
              <a:avLst/>
            </a:prstGeom>
          </p:spPr>
        </p:pic>
        <p:pic>
          <p:nvPicPr>
            <p:cNvPr id="6" name="Image 2" descr="preencoded.png"/>
            <p:cNvPicPr>
              <a:picLocks noChangeAspect="1"/>
            </p:cNvPicPr>
            <p:nvPr/>
          </p:nvPicPr>
          <p:blipFill>
            <a:blip r:embed="rId5"/>
            <a:stretch>
              <a:fillRect/>
            </a:stretch>
          </p:blipFill>
          <p:spPr>
            <a:xfrm>
              <a:off x="2686459" y="4404042"/>
              <a:ext cx="48895" cy="258445"/>
            </a:xfrm>
            <a:prstGeom prst="rect">
              <a:avLst/>
            </a:prstGeom>
          </p:spPr>
        </p:pic>
        <p:pic>
          <p:nvPicPr>
            <p:cNvPr id="7" name="Image 3" descr="preencoded.png"/>
            <p:cNvPicPr>
              <a:picLocks noChangeAspect="1"/>
            </p:cNvPicPr>
            <p:nvPr/>
          </p:nvPicPr>
          <p:blipFill>
            <a:blip r:embed="rId6"/>
            <a:stretch>
              <a:fillRect/>
            </a:stretch>
          </p:blipFill>
          <p:spPr>
            <a:xfrm>
              <a:off x="2437188" y="4465859"/>
              <a:ext cx="201517" cy="199771"/>
            </a:xfrm>
            <a:prstGeom prst="rect">
              <a:avLst/>
            </a:prstGeom>
          </p:spPr>
        </p:pic>
        <p:pic>
          <p:nvPicPr>
            <p:cNvPr id="8" name="Image 4" descr="preencoded.png"/>
            <p:cNvPicPr>
              <a:picLocks noChangeAspect="1"/>
            </p:cNvPicPr>
            <p:nvPr/>
          </p:nvPicPr>
          <p:blipFill>
            <a:blip r:embed="rId7"/>
            <a:stretch>
              <a:fillRect/>
            </a:stretch>
          </p:blipFill>
          <p:spPr>
            <a:xfrm>
              <a:off x="2221635" y="4465859"/>
              <a:ext cx="192437" cy="199771"/>
            </a:xfrm>
            <a:prstGeom prst="rect">
              <a:avLst/>
            </a:prstGeom>
          </p:spPr>
        </p:pic>
        <p:pic>
          <p:nvPicPr>
            <p:cNvPr id="9" name="Image 5" descr="preencoded.png"/>
            <p:cNvPicPr>
              <a:picLocks noChangeAspect="1"/>
            </p:cNvPicPr>
            <p:nvPr/>
          </p:nvPicPr>
          <p:blipFill>
            <a:blip r:embed="rId8"/>
            <a:stretch>
              <a:fillRect/>
            </a:stretch>
          </p:blipFill>
          <p:spPr>
            <a:xfrm>
              <a:off x="1983867" y="4418711"/>
              <a:ext cx="202216" cy="243776"/>
            </a:xfrm>
            <a:prstGeom prst="rect">
              <a:avLst/>
            </a:prstGeom>
          </p:spPr>
        </p:pic>
        <p:pic>
          <p:nvPicPr>
            <p:cNvPr id="10" name="Image 6" descr="preencoded.png"/>
            <p:cNvPicPr>
              <a:picLocks noChangeAspect="1"/>
            </p:cNvPicPr>
            <p:nvPr/>
          </p:nvPicPr>
          <p:blipFill>
            <a:blip r:embed="rId9"/>
            <a:stretch>
              <a:fillRect/>
            </a:stretch>
          </p:blipFill>
          <p:spPr>
            <a:xfrm>
              <a:off x="1666835" y="4469003"/>
              <a:ext cx="207454" cy="284988"/>
            </a:xfrm>
            <a:prstGeom prst="rect">
              <a:avLst/>
            </a:prstGeom>
          </p:spPr>
        </p:pic>
        <p:pic>
          <p:nvPicPr>
            <p:cNvPr id="11" name="Image 7" descr="preencoded.png"/>
            <p:cNvPicPr>
              <a:picLocks noChangeAspect="1"/>
            </p:cNvPicPr>
            <p:nvPr/>
          </p:nvPicPr>
          <p:blipFill>
            <a:blip r:embed="rId4"/>
            <a:stretch>
              <a:fillRect/>
            </a:stretch>
          </p:blipFill>
          <p:spPr>
            <a:xfrm>
              <a:off x="1538418" y="4421155"/>
              <a:ext cx="115602" cy="241332"/>
            </a:xfrm>
            <a:prstGeom prst="rect">
              <a:avLst/>
            </a:prstGeom>
          </p:spPr>
        </p:pic>
        <p:pic>
          <p:nvPicPr>
            <p:cNvPr id="12" name="Image 8" descr="preencoded.png"/>
            <p:cNvPicPr>
              <a:picLocks noChangeAspect="1"/>
            </p:cNvPicPr>
            <p:nvPr/>
          </p:nvPicPr>
          <p:blipFill>
            <a:blip r:embed="rId10"/>
            <a:stretch>
              <a:fillRect/>
            </a:stretch>
          </p:blipFill>
          <p:spPr>
            <a:xfrm>
              <a:off x="1412584" y="4466209"/>
              <a:ext cx="108268" cy="196279"/>
            </a:xfrm>
            <a:prstGeom prst="rect">
              <a:avLst/>
            </a:prstGeom>
          </p:spPr>
        </p:pic>
        <p:pic>
          <p:nvPicPr>
            <p:cNvPr id="13" name="Image 9" descr="preencoded.png"/>
            <p:cNvPicPr>
              <a:picLocks noChangeAspect="1"/>
            </p:cNvPicPr>
            <p:nvPr/>
          </p:nvPicPr>
          <p:blipFill>
            <a:blip r:embed="rId11"/>
            <a:stretch>
              <a:fillRect/>
            </a:stretch>
          </p:blipFill>
          <p:spPr>
            <a:xfrm>
              <a:off x="1310142" y="4388675"/>
              <a:ext cx="60071" cy="273812"/>
            </a:xfrm>
            <a:prstGeom prst="rect">
              <a:avLst/>
            </a:prstGeom>
          </p:spPr>
        </p:pic>
        <p:pic>
          <p:nvPicPr>
            <p:cNvPr id="14" name="Image 10" descr="preencoded.png"/>
            <p:cNvPicPr>
              <a:picLocks noChangeAspect="1"/>
            </p:cNvPicPr>
            <p:nvPr/>
          </p:nvPicPr>
          <p:blipFill>
            <a:blip r:embed="rId12"/>
            <a:stretch>
              <a:fillRect/>
            </a:stretch>
          </p:blipFill>
          <p:spPr>
            <a:xfrm>
              <a:off x="1047877" y="4418711"/>
              <a:ext cx="238189" cy="243776"/>
            </a:xfrm>
            <a:prstGeom prst="rect">
              <a:avLst/>
            </a:prstGeom>
          </p:spPr>
        </p:pic>
        <p:pic>
          <p:nvPicPr>
            <p:cNvPr id="15" name="Image 11" descr="preencoded.png"/>
            <p:cNvPicPr>
              <a:picLocks noChangeAspect="1"/>
            </p:cNvPicPr>
            <p:nvPr/>
          </p:nvPicPr>
          <p:blipFill>
            <a:blip r:embed="rId13"/>
            <a:stretch>
              <a:fillRect/>
            </a:stretch>
          </p:blipFill>
          <p:spPr>
            <a:xfrm>
              <a:off x="385763" y="4271963"/>
              <a:ext cx="552450" cy="533156"/>
            </a:xfrm>
            <a:prstGeom prst="rect">
              <a:avLst/>
            </a:prstGeom>
          </p:spPr>
        </p:pic>
        <p:pic>
          <p:nvPicPr>
            <p:cNvPr id="16" name="Image 12" descr="preencoded.png"/>
            <p:cNvPicPr>
              <a:picLocks noChangeAspect="1"/>
            </p:cNvPicPr>
            <p:nvPr/>
          </p:nvPicPr>
          <p:blipFill>
            <a:blip r:embed="rId14"/>
            <a:stretch>
              <a:fillRect/>
            </a:stretch>
          </p:blipFill>
          <p:spPr>
            <a:xfrm>
              <a:off x="570336" y="4460879"/>
              <a:ext cx="181352" cy="154292"/>
            </a:xfrm>
            <a:prstGeom prst="rect">
              <a:avLst/>
            </a:prstGeom>
          </p:spPr>
        </p:pic>
        <p:pic>
          <p:nvPicPr>
            <p:cNvPr id="17" name="Image 13" descr="preencoded.png"/>
            <p:cNvPicPr>
              <a:picLocks noChangeAspect="1"/>
            </p:cNvPicPr>
            <p:nvPr/>
          </p:nvPicPr>
          <p:blipFill>
            <a:blip r:embed="rId15"/>
            <a:stretch>
              <a:fillRect/>
            </a:stretch>
          </p:blipFill>
          <p:spPr>
            <a:xfrm>
              <a:off x="493261" y="4363438"/>
              <a:ext cx="335500" cy="335500"/>
            </a:xfrm>
            <a:prstGeom prst="rect">
              <a:avLst/>
            </a:prstGeom>
          </p:spPr>
        </p:pic>
      </p:grpSp>
      <p:sp>
        <p:nvSpPr>
          <p:cNvPr id="18" name="Text 4">
            <a:extLst>
              <a:ext uri="{FF2B5EF4-FFF2-40B4-BE49-F238E27FC236}">
                <a16:creationId xmlns:a16="http://schemas.microsoft.com/office/drawing/2014/main" id="{57409507-9B37-8667-02D9-B01E4D31FDF7}"/>
              </a:ext>
            </a:extLst>
          </p:cNvPr>
          <p:cNvSpPr/>
          <p:nvPr/>
        </p:nvSpPr>
        <p:spPr>
          <a:xfrm>
            <a:off x="221176" y="2345134"/>
            <a:ext cx="9996713" cy="1652983"/>
          </a:xfrm>
          <a:prstGeom prst="rect">
            <a:avLst/>
          </a:prstGeom>
          <a:noFill/>
          <a:ln/>
        </p:spPr>
        <p:txBody>
          <a:bodyPr wrap="square" lIns="121920" tIns="60960" rIns="121920" bIns="60960"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lnSpc>
                <a:spcPct val="150000"/>
              </a:lnSpc>
            </a:pPr>
            <a:r>
              <a:rPr lang="en-US" sz="5867" kern="0" spc="-96" dirty="0">
                <a:solidFill>
                  <a:srgbClr val="16A34A">
                    <a:alpha val="99000"/>
                  </a:srgbClr>
                </a:solidFill>
                <a:latin typeface="DM Sans"/>
                <a:ea typeface="DM Sans" pitchFamily="34" charset="-122"/>
                <a:cs typeface="DM Sans" pitchFamily="34" charset="-120"/>
              </a:rPr>
              <a:t>Building financial resilience by growing clinical services</a:t>
            </a:r>
          </a:p>
          <a:p>
            <a:pPr defTabSz="1219170">
              <a:lnSpc>
                <a:spcPct val="150000"/>
              </a:lnSpc>
            </a:pPr>
            <a:r>
              <a:rPr lang="en-US" sz="2667" kern="0" spc="-96" dirty="0">
                <a:solidFill>
                  <a:srgbClr val="16A34A">
                    <a:alpha val="99000"/>
                  </a:srgbClr>
                </a:solidFill>
                <a:latin typeface="DM Sans"/>
                <a:ea typeface="DM Sans" pitchFamily="34" charset="-122"/>
                <a:cs typeface="DM Sans" pitchFamily="34" charset="-120"/>
              </a:rPr>
              <a:t>Increase Income. Build clinical skills. Learn from specialist peers.</a:t>
            </a:r>
          </a:p>
          <a:p>
            <a:pPr defTabSz="1219170">
              <a:lnSpc>
                <a:spcPct val="150000"/>
              </a:lnSpc>
            </a:pPr>
            <a:endParaRPr lang="en-US" sz="4267" dirty="0">
              <a:solidFill>
                <a:prstClr val="black"/>
              </a:solidFill>
              <a:latin typeface="Calibri" panose="020F0502020204030204"/>
              <a:ea typeface="Calibri" panose="020F0502020204030204"/>
              <a:cs typeface="Calibri" panose="020F0502020204030204"/>
            </a:endParaRPr>
          </a:p>
        </p:txBody>
      </p:sp>
    </p:spTree>
    <p:extLst>
      <p:ext uri="{BB962C8B-B14F-4D97-AF65-F5344CB8AC3E}">
        <p14:creationId xmlns:p14="http://schemas.microsoft.com/office/powerpoint/2010/main" val="215749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1240E"/>
        </a:solidFill>
        <a:effectLst/>
      </p:bgPr>
    </p:bg>
    <p:spTree>
      <p:nvGrpSpPr>
        <p:cNvPr id="1" name="">
          <a:extLst>
            <a:ext uri="{FF2B5EF4-FFF2-40B4-BE49-F238E27FC236}">
              <a16:creationId xmlns:a16="http://schemas.microsoft.com/office/drawing/2014/main" id="{F96562BE-2F58-DC72-BD36-7DE75C138292}"/>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D282D1E5-016D-8B08-2452-7FFEC7135D34}"/>
              </a:ext>
            </a:extLst>
          </p:cNvPr>
          <p:cNvSpPr/>
          <p:nvPr/>
        </p:nvSpPr>
        <p:spPr>
          <a:xfrm>
            <a:off x="504134" y="2561635"/>
            <a:ext cx="11042649" cy="730251"/>
          </a:xfrm>
          <a:prstGeom prst="rect">
            <a:avLst/>
          </a:prstGeom>
          <a:noFill/>
          <a:ln/>
        </p:spPr>
        <p:txBody>
          <a:bodyPr wrap="square" rtlCol="0" anchor="ctr"/>
          <a:lstStyle/>
          <a:p>
            <a:pPr marL="0" marR="0" lvl="0" indent="0" algn="l" defTabSz="1219170" rtl="0" eaLnBrk="1" fontAlgn="auto" latinLnBrk="0" hangingPunct="1">
              <a:lnSpc>
                <a:spcPts val="5760"/>
              </a:lnSpc>
              <a:spcBef>
                <a:spcPts val="0"/>
              </a:spcBef>
              <a:spcAft>
                <a:spcPts val="0"/>
              </a:spcAft>
              <a:buClrTx/>
              <a:buSzTx/>
              <a:buFontTx/>
              <a:buNone/>
              <a:tabLst/>
              <a:defRPr/>
            </a:pPr>
            <a:r>
              <a:rPr kumimoji="0" lang="en-US" sz="4800" b="0" i="0" u="none" strike="noStrike" kern="0" cap="none" spc="-96" normalizeH="0" baseline="0" noProof="0" dirty="0">
                <a:ln>
                  <a:noFill/>
                </a:ln>
                <a:solidFill>
                  <a:srgbClr val="16A34A">
                    <a:alpha val="99000"/>
                  </a:srgbClr>
                </a:solidFill>
                <a:effectLst/>
                <a:uLnTx/>
                <a:uFillTx/>
                <a:latin typeface="DM Sans" pitchFamily="34" charset="0"/>
                <a:ea typeface="DM Sans" pitchFamily="34" charset="-122"/>
                <a:cs typeface="DM Sans" pitchFamily="34" charset="-120"/>
              </a:rPr>
              <a:t>We look forward to continuing this opportunity with you</a:t>
            </a:r>
            <a:endParaRPr kumimoji="0" lang="en-US" sz="4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Image 0" descr="preencoded.png">
            <a:extLst>
              <a:ext uri="{FF2B5EF4-FFF2-40B4-BE49-F238E27FC236}">
                <a16:creationId xmlns:a16="http://schemas.microsoft.com/office/drawing/2014/main" id="{9BAB201B-2D31-FD8A-54BA-D52F8625614A}"/>
              </a:ext>
            </a:extLst>
          </p:cNvPr>
          <p:cNvPicPr>
            <a:picLocks noChangeAspect="1"/>
          </p:cNvPicPr>
          <p:nvPr/>
        </p:nvPicPr>
        <p:blipFill>
          <a:blip r:embed="rId3"/>
          <a:stretch>
            <a:fillRect/>
          </a:stretch>
        </p:blipFill>
        <p:spPr>
          <a:xfrm>
            <a:off x="3892088" y="5872057"/>
            <a:ext cx="245872" cy="344593"/>
          </a:xfrm>
          <a:prstGeom prst="rect">
            <a:avLst/>
          </a:prstGeom>
        </p:spPr>
      </p:pic>
      <p:pic>
        <p:nvPicPr>
          <p:cNvPr id="5" name="Image 1" descr="preencoded.png">
            <a:extLst>
              <a:ext uri="{FF2B5EF4-FFF2-40B4-BE49-F238E27FC236}">
                <a16:creationId xmlns:a16="http://schemas.microsoft.com/office/drawing/2014/main" id="{F200A857-1D22-357B-1D71-6799A66083EF}"/>
              </a:ext>
            </a:extLst>
          </p:cNvPr>
          <p:cNvPicPr>
            <a:picLocks noChangeAspect="1"/>
          </p:cNvPicPr>
          <p:nvPr/>
        </p:nvPicPr>
        <p:blipFill>
          <a:blip r:embed="rId4"/>
          <a:stretch>
            <a:fillRect/>
          </a:stretch>
        </p:blipFill>
        <p:spPr>
          <a:xfrm>
            <a:off x="3691061" y="5894873"/>
            <a:ext cx="154136" cy="321776"/>
          </a:xfrm>
          <a:prstGeom prst="rect">
            <a:avLst/>
          </a:prstGeom>
        </p:spPr>
      </p:pic>
      <p:pic>
        <p:nvPicPr>
          <p:cNvPr id="6" name="Image 2" descr="preencoded.png">
            <a:extLst>
              <a:ext uri="{FF2B5EF4-FFF2-40B4-BE49-F238E27FC236}">
                <a16:creationId xmlns:a16="http://schemas.microsoft.com/office/drawing/2014/main" id="{DD625A29-0E84-6486-CA41-48545705D497}"/>
              </a:ext>
            </a:extLst>
          </p:cNvPr>
          <p:cNvPicPr>
            <a:picLocks noChangeAspect="1"/>
          </p:cNvPicPr>
          <p:nvPr/>
        </p:nvPicPr>
        <p:blipFill>
          <a:blip r:embed="rId5"/>
          <a:stretch>
            <a:fillRect/>
          </a:stretch>
        </p:blipFill>
        <p:spPr>
          <a:xfrm>
            <a:off x="3581946" y="5872057"/>
            <a:ext cx="65193" cy="344593"/>
          </a:xfrm>
          <a:prstGeom prst="rect">
            <a:avLst/>
          </a:prstGeom>
        </p:spPr>
      </p:pic>
      <p:pic>
        <p:nvPicPr>
          <p:cNvPr id="7" name="Image 3" descr="preencoded.png">
            <a:extLst>
              <a:ext uri="{FF2B5EF4-FFF2-40B4-BE49-F238E27FC236}">
                <a16:creationId xmlns:a16="http://schemas.microsoft.com/office/drawing/2014/main" id="{AF62C453-EEB5-9113-FF78-53CF5E299B5C}"/>
              </a:ext>
            </a:extLst>
          </p:cNvPr>
          <p:cNvPicPr>
            <a:picLocks noChangeAspect="1"/>
          </p:cNvPicPr>
          <p:nvPr/>
        </p:nvPicPr>
        <p:blipFill>
          <a:blip r:embed="rId6"/>
          <a:stretch>
            <a:fillRect/>
          </a:stretch>
        </p:blipFill>
        <p:spPr>
          <a:xfrm>
            <a:off x="3249585" y="5954480"/>
            <a:ext cx="268689" cy="266361"/>
          </a:xfrm>
          <a:prstGeom prst="rect">
            <a:avLst/>
          </a:prstGeom>
        </p:spPr>
      </p:pic>
      <p:pic>
        <p:nvPicPr>
          <p:cNvPr id="8" name="Image 4" descr="preencoded.png">
            <a:extLst>
              <a:ext uri="{FF2B5EF4-FFF2-40B4-BE49-F238E27FC236}">
                <a16:creationId xmlns:a16="http://schemas.microsoft.com/office/drawing/2014/main" id="{93AD1E00-A924-0AB8-CEEE-7CD513392F03}"/>
              </a:ext>
            </a:extLst>
          </p:cNvPr>
          <p:cNvPicPr>
            <a:picLocks noChangeAspect="1"/>
          </p:cNvPicPr>
          <p:nvPr/>
        </p:nvPicPr>
        <p:blipFill>
          <a:blip r:embed="rId7"/>
          <a:stretch>
            <a:fillRect/>
          </a:stretch>
        </p:blipFill>
        <p:spPr>
          <a:xfrm>
            <a:off x="2962181" y="5954480"/>
            <a:ext cx="256583" cy="266361"/>
          </a:xfrm>
          <a:prstGeom prst="rect">
            <a:avLst/>
          </a:prstGeom>
        </p:spPr>
      </p:pic>
      <p:pic>
        <p:nvPicPr>
          <p:cNvPr id="9" name="Image 5" descr="preencoded.png">
            <a:extLst>
              <a:ext uri="{FF2B5EF4-FFF2-40B4-BE49-F238E27FC236}">
                <a16:creationId xmlns:a16="http://schemas.microsoft.com/office/drawing/2014/main" id="{9D923AC0-34DA-2C61-872F-DED54BCEF63F}"/>
              </a:ext>
            </a:extLst>
          </p:cNvPr>
          <p:cNvPicPr>
            <a:picLocks noChangeAspect="1"/>
          </p:cNvPicPr>
          <p:nvPr/>
        </p:nvPicPr>
        <p:blipFill>
          <a:blip r:embed="rId8"/>
          <a:stretch>
            <a:fillRect/>
          </a:stretch>
        </p:blipFill>
        <p:spPr>
          <a:xfrm>
            <a:off x="2645156" y="5891615"/>
            <a:ext cx="269621" cy="325035"/>
          </a:xfrm>
          <a:prstGeom prst="rect">
            <a:avLst/>
          </a:prstGeom>
        </p:spPr>
      </p:pic>
      <p:pic>
        <p:nvPicPr>
          <p:cNvPr id="10" name="Image 6" descr="preencoded.png">
            <a:extLst>
              <a:ext uri="{FF2B5EF4-FFF2-40B4-BE49-F238E27FC236}">
                <a16:creationId xmlns:a16="http://schemas.microsoft.com/office/drawing/2014/main" id="{B6358F36-4A57-F05E-41D1-47E4B6F54ACB}"/>
              </a:ext>
            </a:extLst>
          </p:cNvPr>
          <p:cNvPicPr>
            <a:picLocks noChangeAspect="1"/>
          </p:cNvPicPr>
          <p:nvPr/>
        </p:nvPicPr>
        <p:blipFill>
          <a:blip r:embed="rId9"/>
          <a:stretch>
            <a:fillRect/>
          </a:stretch>
        </p:blipFill>
        <p:spPr>
          <a:xfrm>
            <a:off x="2222447" y="5958671"/>
            <a:ext cx="276605" cy="379984"/>
          </a:xfrm>
          <a:prstGeom prst="rect">
            <a:avLst/>
          </a:prstGeom>
        </p:spPr>
      </p:pic>
      <p:pic>
        <p:nvPicPr>
          <p:cNvPr id="11" name="Image 7" descr="preencoded.png">
            <a:extLst>
              <a:ext uri="{FF2B5EF4-FFF2-40B4-BE49-F238E27FC236}">
                <a16:creationId xmlns:a16="http://schemas.microsoft.com/office/drawing/2014/main" id="{AEB6978F-49CA-31E6-D528-E281486A9451}"/>
              </a:ext>
            </a:extLst>
          </p:cNvPr>
          <p:cNvPicPr>
            <a:picLocks noChangeAspect="1"/>
          </p:cNvPicPr>
          <p:nvPr/>
        </p:nvPicPr>
        <p:blipFill>
          <a:blip r:embed="rId4"/>
          <a:stretch>
            <a:fillRect/>
          </a:stretch>
        </p:blipFill>
        <p:spPr>
          <a:xfrm>
            <a:off x="2051224" y="5894873"/>
            <a:ext cx="154136" cy="321776"/>
          </a:xfrm>
          <a:prstGeom prst="rect">
            <a:avLst/>
          </a:prstGeom>
        </p:spPr>
      </p:pic>
      <p:pic>
        <p:nvPicPr>
          <p:cNvPr id="12" name="Image 8" descr="preencoded.png">
            <a:extLst>
              <a:ext uri="{FF2B5EF4-FFF2-40B4-BE49-F238E27FC236}">
                <a16:creationId xmlns:a16="http://schemas.microsoft.com/office/drawing/2014/main" id="{8E711547-A760-F76D-5AD8-7B1B8E8B8142}"/>
              </a:ext>
            </a:extLst>
          </p:cNvPr>
          <p:cNvPicPr>
            <a:picLocks noChangeAspect="1"/>
          </p:cNvPicPr>
          <p:nvPr/>
        </p:nvPicPr>
        <p:blipFill>
          <a:blip r:embed="rId10"/>
          <a:stretch>
            <a:fillRect/>
          </a:stretch>
        </p:blipFill>
        <p:spPr>
          <a:xfrm>
            <a:off x="1883446" y="5954946"/>
            <a:ext cx="144357" cy="261705"/>
          </a:xfrm>
          <a:prstGeom prst="rect">
            <a:avLst/>
          </a:prstGeom>
        </p:spPr>
      </p:pic>
      <p:pic>
        <p:nvPicPr>
          <p:cNvPr id="13" name="Image 9" descr="preencoded.png">
            <a:extLst>
              <a:ext uri="{FF2B5EF4-FFF2-40B4-BE49-F238E27FC236}">
                <a16:creationId xmlns:a16="http://schemas.microsoft.com/office/drawing/2014/main" id="{561CC7D7-5636-E98D-E3AA-6C24C0F3ACE9}"/>
              </a:ext>
            </a:extLst>
          </p:cNvPr>
          <p:cNvPicPr>
            <a:picLocks noChangeAspect="1"/>
          </p:cNvPicPr>
          <p:nvPr/>
        </p:nvPicPr>
        <p:blipFill>
          <a:blip r:embed="rId11"/>
          <a:stretch>
            <a:fillRect/>
          </a:stretch>
        </p:blipFill>
        <p:spPr>
          <a:xfrm>
            <a:off x="1746857" y="5851567"/>
            <a:ext cx="80095" cy="365083"/>
          </a:xfrm>
          <a:prstGeom prst="rect">
            <a:avLst/>
          </a:prstGeom>
        </p:spPr>
      </p:pic>
      <p:pic>
        <p:nvPicPr>
          <p:cNvPr id="14" name="Image 10" descr="preencoded.png">
            <a:extLst>
              <a:ext uri="{FF2B5EF4-FFF2-40B4-BE49-F238E27FC236}">
                <a16:creationId xmlns:a16="http://schemas.microsoft.com/office/drawing/2014/main" id="{401C7890-20CE-4C4D-1F32-F5A14C83030E}"/>
              </a:ext>
            </a:extLst>
          </p:cNvPr>
          <p:cNvPicPr>
            <a:picLocks noChangeAspect="1"/>
          </p:cNvPicPr>
          <p:nvPr/>
        </p:nvPicPr>
        <p:blipFill>
          <a:blip r:embed="rId12"/>
          <a:stretch>
            <a:fillRect/>
          </a:stretch>
        </p:blipFill>
        <p:spPr>
          <a:xfrm>
            <a:off x="1397170" y="5891615"/>
            <a:ext cx="317585" cy="325035"/>
          </a:xfrm>
          <a:prstGeom prst="rect">
            <a:avLst/>
          </a:prstGeom>
        </p:spPr>
      </p:pic>
      <p:pic>
        <p:nvPicPr>
          <p:cNvPr id="15" name="Image 11" descr="preencoded.png">
            <a:extLst>
              <a:ext uri="{FF2B5EF4-FFF2-40B4-BE49-F238E27FC236}">
                <a16:creationId xmlns:a16="http://schemas.microsoft.com/office/drawing/2014/main" id="{1D3FE020-3511-963E-45AA-1E16FE3E52F8}"/>
              </a:ext>
            </a:extLst>
          </p:cNvPr>
          <p:cNvPicPr>
            <a:picLocks noChangeAspect="1"/>
          </p:cNvPicPr>
          <p:nvPr/>
        </p:nvPicPr>
        <p:blipFill>
          <a:blip r:embed="rId13"/>
          <a:stretch>
            <a:fillRect/>
          </a:stretch>
        </p:blipFill>
        <p:spPr>
          <a:xfrm>
            <a:off x="514351" y="5695951"/>
            <a:ext cx="736600" cy="710875"/>
          </a:xfrm>
          <a:prstGeom prst="rect">
            <a:avLst/>
          </a:prstGeom>
        </p:spPr>
      </p:pic>
      <p:pic>
        <p:nvPicPr>
          <p:cNvPr id="16" name="Image 12" descr="preencoded.png">
            <a:extLst>
              <a:ext uri="{FF2B5EF4-FFF2-40B4-BE49-F238E27FC236}">
                <a16:creationId xmlns:a16="http://schemas.microsoft.com/office/drawing/2014/main" id="{9DC37345-4FBC-5EFD-8DA9-9211942B27EC}"/>
              </a:ext>
            </a:extLst>
          </p:cNvPr>
          <p:cNvPicPr>
            <a:picLocks noChangeAspect="1"/>
          </p:cNvPicPr>
          <p:nvPr/>
        </p:nvPicPr>
        <p:blipFill>
          <a:blip r:embed="rId14"/>
          <a:stretch>
            <a:fillRect/>
          </a:stretch>
        </p:blipFill>
        <p:spPr>
          <a:xfrm>
            <a:off x="760448" y="5947839"/>
            <a:ext cx="241803" cy="205723"/>
          </a:xfrm>
          <a:prstGeom prst="rect">
            <a:avLst/>
          </a:prstGeom>
        </p:spPr>
      </p:pic>
      <p:pic>
        <p:nvPicPr>
          <p:cNvPr id="17" name="Image 13" descr="preencoded.png">
            <a:extLst>
              <a:ext uri="{FF2B5EF4-FFF2-40B4-BE49-F238E27FC236}">
                <a16:creationId xmlns:a16="http://schemas.microsoft.com/office/drawing/2014/main" id="{2833E0D8-EEC2-32B0-E232-A3291B545557}"/>
              </a:ext>
            </a:extLst>
          </p:cNvPr>
          <p:cNvPicPr>
            <a:picLocks noChangeAspect="1"/>
          </p:cNvPicPr>
          <p:nvPr/>
        </p:nvPicPr>
        <p:blipFill>
          <a:blip r:embed="rId15"/>
          <a:stretch>
            <a:fillRect/>
          </a:stretch>
        </p:blipFill>
        <p:spPr>
          <a:xfrm>
            <a:off x="657682" y="5817918"/>
            <a:ext cx="447333" cy="447333"/>
          </a:xfrm>
          <a:prstGeom prst="rect">
            <a:avLst/>
          </a:prstGeom>
        </p:spPr>
      </p:pic>
    </p:spTree>
    <p:extLst>
      <p:ext uri="{BB962C8B-B14F-4D97-AF65-F5344CB8AC3E}">
        <p14:creationId xmlns:p14="http://schemas.microsoft.com/office/powerpoint/2010/main" val="3185116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7008D-B14D-CF1D-F9FB-B64EFE0D379C}"/>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EEAC50A9-7607-E89A-E7ED-1D969E684194}"/>
              </a:ext>
            </a:extLst>
          </p:cNvPr>
          <p:cNvSpPr/>
          <p:nvPr/>
        </p:nvSpPr>
        <p:spPr>
          <a:xfrm>
            <a:off x="242095" y="316533"/>
            <a:ext cx="11626848" cy="707628"/>
          </a:xfrm>
          <a:prstGeom prst="rect">
            <a:avLst/>
          </a:prstGeom>
          <a:noFill/>
          <a:ln/>
        </p:spPr>
        <p:txBody>
          <a:bodyPr wrap="square" lIns="121920" tIns="60960" rIns="121920" bIns="60960" rtlCol="0" anchor="ctr"/>
          <a:lstStyle/>
          <a:p>
            <a:pPr defTabSz="1219170">
              <a:lnSpc>
                <a:spcPts val="2880"/>
              </a:lnSpc>
              <a:defRPr/>
            </a:pPr>
            <a:endParaRPr lang="en-US" sz="2400" dirty="0">
              <a:solidFill>
                <a:prstClr val="black"/>
              </a:solidFill>
              <a:latin typeface="DM Sans"/>
            </a:endParaRPr>
          </a:p>
        </p:txBody>
      </p:sp>
      <p:sp>
        <p:nvSpPr>
          <p:cNvPr id="3" name="Text 1">
            <a:extLst>
              <a:ext uri="{FF2B5EF4-FFF2-40B4-BE49-F238E27FC236}">
                <a16:creationId xmlns:a16="http://schemas.microsoft.com/office/drawing/2014/main" id="{9594EF8B-74FE-172F-8186-4D5DC682B8F1}"/>
              </a:ext>
            </a:extLst>
          </p:cNvPr>
          <p:cNvSpPr/>
          <p:nvPr/>
        </p:nvSpPr>
        <p:spPr>
          <a:xfrm>
            <a:off x="5480051" y="4406901"/>
            <a:ext cx="1841500" cy="342900"/>
          </a:xfrm>
          <a:prstGeom prst="rect">
            <a:avLst/>
          </a:prstGeom>
          <a:noFill/>
          <a:ln/>
        </p:spPr>
        <p:txBody>
          <a:bodyPr wrap="square" rtlCol="0" anchor="ctr"/>
          <a:lstStyle/>
          <a:p>
            <a:pPr algn="ctr" defTabSz="1219170">
              <a:lnSpc>
                <a:spcPts val="2700"/>
              </a:lnSpc>
              <a:defRPr/>
            </a:pPr>
            <a:r>
              <a:rPr lang="en-US" sz="2000" b="1" kern="0" spc="-40" dirty="0">
                <a:solidFill>
                  <a:srgbClr val="FFFFFF">
                    <a:alpha val="99000"/>
                  </a:srgbClr>
                </a:solidFill>
                <a:latin typeface="DM Sans" pitchFamily="34" charset="0"/>
                <a:ea typeface="DM Sans" pitchFamily="34" charset="-122"/>
                <a:cs typeface="DM Sans" pitchFamily="34" charset="-120"/>
              </a:rPr>
              <a:t>The Result</a:t>
            </a:r>
            <a:endParaRPr lang="en-US" sz="2000" dirty="0">
              <a:solidFill>
                <a:prstClr val="black"/>
              </a:solidFill>
              <a:latin typeface="Calibri" panose="020F0502020204030204"/>
            </a:endParaRPr>
          </a:p>
        </p:txBody>
      </p:sp>
      <p:sp>
        <p:nvSpPr>
          <p:cNvPr id="5" name="Shape 3">
            <a:extLst>
              <a:ext uri="{FF2B5EF4-FFF2-40B4-BE49-F238E27FC236}">
                <a16:creationId xmlns:a16="http://schemas.microsoft.com/office/drawing/2014/main" id="{F07CE574-C835-316C-0F31-7889F77AF5EA}"/>
              </a:ext>
            </a:extLst>
          </p:cNvPr>
          <p:cNvSpPr/>
          <p:nvPr/>
        </p:nvSpPr>
        <p:spPr>
          <a:xfrm>
            <a:off x="419100" y="1276351"/>
            <a:ext cx="11353800" cy="39624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6" name="Text 4">
            <a:extLst>
              <a:ext uri="{FF2B5EF4-FFF2-40B4-BE49-F238E27FC236}">
                <a16:creationId xmlns:a16="http://schemas.microsoft.com/office/drawing/2014/main" id="{B26274ED-6B9C-A088-468C-E2F18CFED08F}"/>
              </a:ext>
            </a:extLst>
          </p:cNvPr>
          <p:cNvSpPr/>
          <p:nvPr/>
        </p:nvSpPr>
        <p:spPr>
          <a:xfrm>
            <a:off x="264319" y="2090403"/>
            <a:ext cx="11963400" cy="250356"/>
          </a:xfrm>
          <a:prstGeom prst="rect">
            <a:avLst/>
          </a:prstGeom>
          <a:noFill/>
          <a:ln/>
        </p:spPr>
        <p:txBody>
          <a:bodyPr wrap="square" lIns="121920" tIns="60960" rIns="121920" bIns="60960" rtlCol="0" anchor="ctr"/>
          <a:lstStyle/>
          <a:p>
            <a:pPr defTabSz="1219170">
              <a:lnSpc>
                <a:spcPts val="2376"/>
              </a:lnSpc>
              <a:defRPr/>
            </a:pPr>
            <a:endParaRPr lang="en-GB" sz="1400" b="1"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ndParaRPr>
          </a:p>
          <a:p>
            <a:pPr defTabSz="1219170">
              <a:lnSpc>
                <a:spcPts val="2376"/>
              </a:lnSpc>
              <a:defRPr/>
            </a:pPr>
            <a:endParaRPr lang="en-US" sz="1900" dirty="0">
              <a:solidFill>
                <a:prstClr val="black"/>
              </a:solidFill>
              <a:latin typeface="Calibri" panose="020F0502020204030204"/>
            </a:endParaRPr>
          </a:p>
        </p:txBody>
      </p:sp>
      <p:sp>
        <p:nvSpPr>
          <p:cNvPr id="14" name="Shape 3">
            <a:extLst>
              <a:ext uri="{FF2B5EF4-FFF2-40B4-BE49-F238E27FC236}">
                <a16:creationId xmlns:a16="http://schemas.microsoft.com/office/drawing/2014/main" id="{435B70CB-2926-6B96-7E48-07C78CFD9734}"/>
              </a:ext>
            </a:extLst>
          </p:cNvPr>
          <p:cNvSpPr/>
          <p:nvPr/>
        </p:nvSpPr>
        <p:spPr>
          <a:xfrm>
            <a:off x="1451322" y="2442026"/>
            <a:ext cx="9397301" cy="2943087"/>
          </a:xfrm>
          <a:prstGeom prst="roundRect">
            <a:avLst>
              <a:gd name="adj" fmla="val 7579"/>
            </a:avLst>
          </a:prstGeom>
          <a:ln/>
        </p:spPr>
        <p:style>
          <a:lnRef idx="2">
            <a:schemeClr val="accent6"/>
          </a:lnRef>
          <a:fillRef idx="1">
            <a:schemeClr val="lt1"/>
          </a:fillRef>
          <a:effectRef idx="0">
            <a:schemeClr val="accent6"/>
          </a:effectRef>
          <a:fontRef idx="minor">
            <a:schemeClr val="dk1"/>
          </a:fontRef>
        </p:style>
        <p:txBody>
          <a:bodyPr lIns="121920" tIns="60960" rIns="121920" bIns="60960" anchor="t"/>
          <a:lstStyle/>
          <a:p>
            <a:pPr defTabSz="1219170"/>
            <a:endParaRPr lang="en-GB" sz="1400" dirty="0">
              <a:solidFill>
                <a:srgbClr val="01240E"/>
              </a:solidFill>
              <a:latin typeface="DM Sans" pitchFamily="2" charset="0"/>
            </a:endParaRPr>
          </a:p>
          <a:p>
            <a:pPr defTabSz="1219170"/>
            <a:endParaRPr lang="en-GB" sz="1400" i="1" dirty="0">
              <a:solidFill>
                <a:srgbClr val="01240E"/>
              </a:solidFill>
              <a:latin typeface="DM Sans" pitchFamily="2" charset="0"/>
            </a:endParaRPr>
          </a:p>
          <a:p>
            <a:pPr defTabSz="1219170"/>
            <a:endParaRPr lang="en-GB" sz="1467" i="1" dirty="0">
              <a:solidFill>
                <a:srgbClr val="01240E"/>
              </a:solidFill>
              <a:latin typeface="DM Sans" pitchFamily="2" charset="0"/>
            </a:endParaRPr>
          </a:p>
          <a:p>
            <a:pPr defTabSz="1219170"/>
            <a:r>
              <a:rPr lang="en-GB" sz="1467" i="1" dirty="0">
                <a:solidFill>
                  <a:prstClr val="black"/>
                </a:solidFill>
                <a:latin typeface="Aptos" panose="020B0004020202020204" pitchFamily="34" charset="0"/>
                <a:ea typeface="Aptos" panose="020B0004020202020204" pitchFamily="34" charset="0"/>
                <a:cs typeface="Aptos" panose="020B0004020202020204" pitchFamily="34" charset="0"/>
              </a:rPr>
              <a:t>Thousands of digital health solutions have entered the market in the last 10 years  but very few have successfully integrated into everyday pharmacy practice</a:t>
            </a:r>
            <a:endParaRPr lang="en-GB" sz="1467" dirty="0">
              <a:solidFill>
                <a:prstClr val="black"/>
              </a:solidFill>
              <a:latin typeface="Aptos" panose="020B0004020202020204" pitchFamily="34" charset="0"/>
              <a:ea typeface="Aptos" panose="020B0004020202020204" pitchFamily="34" charset="0"/>
              <a:cs typeface="Aptos" panose="020B0004020202020204" pitchFamily="34" charset="0"/>
            </a:endParaRPr>
          </a:p>
          <a:p>
            <a:pPr defTabSz="1219170"/>
            <a:r>
              <a:rPr lang="en-GB" sz="1467" i="1" dirty="0">
                <a:solidFill>
                  <a:prstClr val="black"/>
                </a:solidFill>
                <a:latin typeface="Aptos" panose="020B0004020202020204" pitchFamily="34" charset="0"/>
                <a:ea typeface="Aptos" panose="020B0004020202020204" pitchFamily="34" charset="0"/>
                <a:cs typeface="Aptos" panose="020B0004020202020204" pitchFamily="34" charset="0"/>
              </a:rPr>
              <a:t> </a:t>
            </a:r>
            <a:endParaRPr lang="en-GB" sz="1467" dirty="0">
              <a:solidFill>
                <a:prstClr val="black"/>
              </a:solidFill>
              <a:latin typeface="Aptos" panose="020B0004020202020204" pitchFamily="34" charset="0"/>
              <a:ea typeface="Aptos" panose="020B0004020202020204" pitchFamily="34" charset="0"/>
              <a:cs typeface="Aptos" panose="020B0004020202020204" pitchFamily="34" charset="0"/>
            </a:endParaRPr>
          </a:p>
          <a:p>
            <a:pPr defTabSz="1219170"/>
            <a:r>
              <a:rPr lang="en-GB" sz="1467" i="1" dirty="0">
                <a:solidFill>
                  <a:prstClr val="black"/>
                </a:solidFill>
                <a:latin typeface="Aptos" panose="020B0004020202020204" pitchFamily="34" charset="0"/>
                <a:ea typeface="Aptos" panose="020B0004020202020204" pitchFamily="34" charset="0"/>
                <a:cs typeface="Aptos" panose="020B0004020202020204" pitchFamily="34" charset="0"/>
              </a:rPr>
              <a:t>We’ve never had more access to digital health tools yet </a:t>
            </a:r>
            <a:r>
              <a:rPr lang="en-GB" sz="1467" i="1" dirty="0">
                <a:solidFill>
                  <a:srgbClr val="00B050"/>
                </a:solidFill>
                <a:latin typeface="Aptos" panose="020B0004020202020204" pitchFamily="34" charset="0"/>
                <a:ea typeface="Aptos" panose="020B0004020202020204" pitchFamily="34" charset="0"/>
                <a:cs typeface="Aptos" panose="020B0004020202020204" pitchFamily="34" charset="0"/>
              </a:rPr>
              <a:t>behaviour change and long-term condition outcomes</a:t>
            </a:r>
            <a:r>
              <a:rPr lang="en-GB" sz="1467" i="1" dirty="0">
                <a:solidFill>
                  <a:prstClr val="black"/>
                </a:solidFill>
                <a:latin typeface="Aptos" panose="020B0004020202020204" pitchFamily="34" charset="0"/>
                <a:ea typeface="Aptos" panose="020B0004020202020204" pitchFamily="34" charset="0"/>
                <a:cs typeface="Aptos" panose="020B0004020202020204" pitchFamily="34" charset="0"/>
              </a:rPr>
              <a:t> remain one of the </a:t>
            </a:r>
            <a:r>
              <a:rPr lang="en-GB" sz="1467" i="1" dirty="0">
                <a:solidFill>
                  <a:srgbClr val="00B050"/>
                </a:solidFill>
                <a:latin typeface="Aptos" panose="020B0004020202020204" pitchFamily="34" charset="0"/>
                <a:ea typeface="Aptos" panose="020B0004020202020204" pitchFamily="34" charset="0"/>
                <a:cs typeface="Aptos" panose="020B0004020202020204" pitchFamily="34" charset="0"/>
              </a:rPr>
              <a:t>biggest challenges </a:t>
            </a:r>
            <a:r>
              <a:rPr lang="en-GB" sz="1467" i="1" dirty="0">
                <a:solidFill>
                  <a:prstClr val="black"/>
                </a:solidFill>
                <a:latin typeface="Aptos" panose="020B0004020202020204" pitchFamily="34" charset="0"/>
                <a:ea typeface="Aptos" panose="020B0004020202020204" pitchFamily="34" charset="0"/>
                <a:cs typeface="Aptos" panose="020B0004020202020204" pitchFamily="34" charset="0"/>
              </a:rPr>
              <a:t>in healthcare.</a:t>
            </a:r>
            <a:endParaRPr lang="en-GB" sz="1467" dirty="0">
              <a:solidFill>
                <a:prstClr val="black"/>
              </a:solidFill>
              <a:latin typeface="Aptos" panose="020B0004020202020204" pitchFamily="34" charset="0"/>
              <a:ea typeface="Aptos" panose="020B0004020202020204" pitchFamily="34" charset="0"/>
              <a:cs typeface="Aptos" panose="020B0004020202020204" pitchFamily="34" charset="0"/>
            </a:endParaRPr>
          </a:p>
          <a:p>
            <a:pPr defTabSz="1219170"/>
            <a:endParaRPr lang="en-GB" sz="2133" i="1" dirty="0">
              <a:solidFill>
                <a:srgbClr val="01240E"/>
              </a:solidFill>
              <a:latin typeface="DM Sans" pitchFamily="2" charset="0"/>
            </a:endParaRPr>
          </a:p>
          <a:p>
            <a:pPr defTabSz="1219170"/>
            <a:endParaRPr lang="en-GB" sz="1400" i="1" dirty="0">
              <a:solidFill>
                <a:srgbClr val="70AD47">
                  <a:lumMod val="50000"/>
                </a:srgbClr>
              </a:solidFill>
              <a:latin typeface="DM Sans" pitchFamily="2" charset="0"/>
            </a:endParaRPr>
          </a:p>
          <a:p>
            <a:pPr defTabSz="1219170"/>
            <a:endParaRPr lang="en-GB" sz="1400" dirty="0">
              <a:solidFill>
                <a:srgbClr val="000000"/>
              </a:solidFill>
              <a:latin typeface="DM Sans" pitchFamily="2" charset="0"/>
            </a:endParaRPr>
          </a:p>
        </p:txBody>
      </p:sp>
      <p:sp>
        <p:nvSpPr>
          <p:cNvPr id="18" name="Text 11">
            <a:extLst>
              <a:ext uri="{FF2B5EF4-FFF2-40B4-BE49-F238E27FC236}">
                <a16:creationId xmlns:a16="http://schemas.microsoft.com/office/drawing/2014/main" id="{E9CB9D86-F17B-86A7-1FEA-FF63F439DE1D}"/>
              </a:ext>
            </a:extLst>
          </p:cNvPr>
          <p:cNvSpPr/>
          <p:nvPr/>
        </p:nvSpPr>
        <p:spPr>
          <a:xfrm>
            <a:off x="239318" y="5869231"/>
            <a:ext cx="11482388" cy="609600"/>
          </a:xfrm>
          <a:prstGeom prst="rect">
            <a:avLst/>
          </a:prstGeom>
          <a:noFill/>
          <a:ln/>
        </p:spPr>
        <p:txBody>
          <a:bodyPr wrap="square" lIns="121920" tIns="60960" rIns="121920" bIns="60960" rtlCol="0" anchor="ctr"/>
          <a:lstStyle/>
          <a:p>
            <a:pPr algn="ctr" defTabSz="1219170">
              <a:lnSpc>
                <a:spcPts val="2376"/>
              </a:lnSpc>
            </a:pPr>
            <a:endParaRPr lang="en-US" dirty="0">
              <a:solidFill>
                <a:prstClr val="black"/>
              </a:solidFill>
              <a:latin typeface="DM Sans"/>
              <a:ea typeface="Calibri" panose="020F0502020204030204"/>
              <a:cs typeface="Calibri" panose="020F0502020204030204"/>
            </a:endParaRPr>
          </a:p>
        </p:txBody>
      </p:sp>
      <p:grpSp>
        <p:nvGrpSpPr>
          <p:cNvPr id="4" name="Group 3">
            <a:extLst>
              <a:ext uri="{FF2B5EF4-FFF2-40B4-BE49-F238E27FC236}">
                <a16:creationId xmlns:a16="http://schemas.microsoft.com/office/drawing/2014/main" id="{742A043E-F0DC-CC1E-E1A8-A429FDE525B4}"/>
              </a:ext>
            </a:extLst>
          </p:cNvPr>
          <p:cNvGrpSpPr/>
          <p:nvPr/>
        </p:nvGrpSpPr>
        <p:grpSpPr>
          <a:xfrm>
            <a:off x="419100" y="316533"/>
            <a:ext cx="755963" cy="707689"/>
            <a:chOff x="385763" y="4271963"/>
            <a:chExt cx="552450" cy="533156"/>
          </a:xfrm>
        </p:grpSpPr>
        <p:pic>
          <p:nvPicPr>
            <p:cNvPr id="22" name="Image 11" descr="preencoded.png">
              <a:extLst>
                <a:ext uri="{FF2B5EF4-FFF2-40B4-BE49-F238E27FC236}">
                  <a16:creationId xmlns:a16="http://schemas.microsoft.com/office/drawing/2014/main" id="{8492C314-7836-8E74-9498-4B8632536BC5}"/>
                </a:ext>
              </a:extLst>
            </p:cNvPr>
            <p:cNvPicPr>
              <a:picLocks noChangeAspect="1"/>
            </p:cNvPicPr>
            <p:nvPr/>
          </p:nvPicPr>
          <p:blipFill>
            <a:blip r:embed="rId3"/>
            <a:stretch>
              <a:fillRect/>
            </a:stretch>
          </p:blipFill>
          <p:spPr>
            <a:xfrm>
              <a:off x="385763" y="4271963"/>
              <a:ext cx="552450" cy="533156"/>
            </a:xfrm>
            <a:prstGeom prst="rect">
              <a:avLst/>
            </a:prstGeom>
          </p:spPr>
        </p:pic>
        <p:pic>
          <p:nvPicPr>
            <p:cNvPr id="23" name="Image 12" descr="preencoded.png">
              <a:extLst>
                <a:ext uri="{FF2B5EF4-FFF2-40B4-BE49-F238E27FC236}">
                  <a16:creationId xmlns:a16="http://schemas.microsoft.com/office/drawing/2014/main" id="{1430BF65-5981-FF35-9466-326576B31378}"/>
                </a:ext>
              </a:extLst>
            </p:cNvPr>
            <p:cNvPicPr>
              <a:picLocks noChangeAspect="1"/>
            </p:cNvPicPr>
            <p:nvPr/>
          </p:nvPicPr>
          <p:blipFill>
            <a:blip r:embed="rId4"/>
            <a:stretch>
              <a:fillRect/>
            </a:stretch>
          </p:blipFill>
          <p:spPr>
            <a:xfrm>
              <a:off x="570336" y="4460879"/>
              <a:ext cx="181352" cy="154292"/>
            </a:xfrm>
            <a:prstGeom prst="rect">
              <a:avLst/>
            </a:prstGeom>
          </p:spPr>
        </p:pic>
        <p:pic>
          <p:nvPicPr>
            <p:cNvPr id="24" name="Image 13" descr="preencoded.png">
              <a:extLst>
                <a:ext uri="{FF2B5EF4-FFF2-40B4-BE49-F238E27FC236}">
                  <a16:creationId xmlns:a16="http://schemas.microsoft.com/office/drawing/2014/main" id="{4C7BD123-7894-CAD8-4C27-FC67C67F17EF}"/>
                </a:ext>
              </a:extLst>
            </p:cNvPr>
            <p:cNvPicPr>
              <a:picLocks noChangeAspect="1"/>
            </p:cNvPicPr>
            <p:nvPr/>
          </p:nvPicPr>
          <p:blipFill>
            <a:blip r:embed="rId5"/>
            <a:stretch>
              <a:fillRect/>
            </a:stretch>
          </p:blipFill>
          <p:spPr>
            <a:xfrm>
              <a:off x="493261" y="4363438"/>
              <a:ext cx="335500" cy="335500"/>
            </a:xfrm>
            <a:prstGeom prst="rect">
              <a:avLst/>
            </a:prstGeom>
          </p:spPr>
        </p:pic>
      </p:grpSp>
      <p:pic>
        <p:nvPicPr>
          <p:cNvPr id="20" name="Picture 19">
            <a:extLst>
              <a:ext uri="{FF2B5EF4-FFF2-40B4-BE49-F238E27FC236}">
                <a16:creationId xmlns:a16="http://schemas.microsoft.com/office/drawing/2014/main" id="{8C4B0E73-7FA6-FD15-ECFE-8F8A429462C2}"/>
              </a:ext>
            </a:extLst>
          </p:cNvPr>
          <p:cNvPicPr>
            <a:picLocks noChangeAspect="1"/>
          </p:cNvPicPr>
          <p:nvPr/>
        </p:nvPicPr>
        <p:blipFill>
          <a:blip r:embed="rId6"/>
          <a:stretch>
            <a:fillRect/>
          </a:stretch>
        </p:blipFill>
        <p:spPr>
          <a:xfrm rot="10800000">
            <a:off x="5278309" y="1743334"/>
            <a:ext cx="1122492" cy="1415532"/>
          </a:xfrm>
          <a:prstGeom prst="rect">
            <a:avLst/>
          </a:prstGeom>
        </p:spPr>
      </p:pic>
    </p:spTree>
    <p:extLst>
      <p:ext uri="{BB962C8B-B14F-4D97-AF65-F5344CB8AC3E}">
        <p14:creationId xmlns:p14="http://schemas.microsoft.com/office/powerpoint/2010/main" val="3403579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647BB-912C-771C-47B6-7E928F7AD536}"/>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67A8D903-2142-3B8E-545F-E5FCFD488555}"/>
              </a:ext>
            </a:extLst>
          </p:cNvPr>
          <p:cNvSpPr/>
          <p:nvPr/>
        </p:nvSpPr>
        <p:spPr>
          <a:xfrm>
            <a:off x="242095" y="316533"/>
            <a:ext cx="11626848" cy="707628"/>
          </a:xfrm>
          <a:prstGeom prst="rect">
            <a:avLst/>
          </a:prstGeom>
          <a:noFill/>
          <a:ln/>
        </p:spPr>
        <p:txBody>
          <a:bodyPr wrap="square" lIns="121920" tIns="60960" rIns="121920" bIns="60960" rtlCol="0" anchor="ctr"/>
          <a:lstStyle/>
          <a:p>
            <a:pPr defTabSz="1219170">
              <a:lnSpc>
                <a:spcPts val="2880"/>
              </a:lnSpc>
              <a:defRPr/>
            </a:pPr>
            <a:endParaRPr lang="en-US" sz="2400" dirty="0">
              <a:solidFill>
                <a:prstClr val="black"/>
              </a:solidFill>
              <a:latin typeface="DM Sans"/>
            </a:endParaRPr>
          </a:p>
        </p:txBody>
      </p:sp>
      <p:sp>
        <p:nvSpPr>
          <p:cNvPr id="3" name="Text 1">
            <a:extLst>
              <a:ext uri="{FF2B5EF4-FFF2-40B4-BE49-F238E27FC236}">
                <a16:creationId xmlns:a16="http://schemas.microsoft.com/office/drawing/2014/main" id="{2A8A1B54-9C6D-5643-92C6-AAB4BA454FAF}"/>
              </a:ext>
            </a:extLst>
          </p:cNvPr>
          <p:cNvSpPr/>
          <p:nvPr/>
        </p:nvSpPr>
        <p:spPr>
          <a:xfrm>
            <a:off x="5480051" y="4406901"/>
            <a:ext cx="1841500" cy="342900"/>
          </a:xfrm>
          <a:prstGeom prst="rect">
            <a:avLst/>
          </a:prstGeom>
          <a:noFill/>
          <a:ln/>
        </p:spPr>
        <p:txBody>
          <a:bodyPr wrap="square" rtlCol="0" anchor="ctr"/>
          <a:lstStyle/>
          <a:p>
            <a:pPr algn="ctr" defTabSz="1219170">
              <a:lnSpc>
                <a:spcPts val="2700"/>
              </a:lnSpc>
              <a:defRPr/>
            </a:pPr>
            <a:r>
              <a:rPr lang="en-US" sz="2000" b="1" kern="0" spc="-40" dirty="0">
                <a:solidFill>
                  <a:srgbClr val="FFFFFF">
                    <a:alpha val="99000"/>
                  </a:srgbClr>
                </a:solidFill>
                <a:latin typeface="DM Sans" pitchFamily="34" charset="0"/>
                <a:ea typeface="DM Sans" pitchFamily="34" charset="-122"/>
                <a:cs typeface="DM Sans" pitchFamily="34" charset="-120"/>
              </a:rPr>
              <a:t>The Result</a:t>
            </a:r>
            <a:endParaRPr lang="en-US" sz="2000" dirty="0">
              <a:solidFill>
                <a:prstClr val="black"/>
              </a:solidFill>
              <a:latin typeface="Calibri" panose="020F0502020204030204"/>
            </a:endParaRPr>
          </a:p>
        </p:txBody>
      </p:sp>
      <p:sp>
        <p:nvSpPr>
          <p:cNvPr id="5" name="Shape 3">
            <a:extLst>
              <a:ext uri="{FF2B5EF4-FFF2-40B4-BE49-F238E27FC236}">
                <a16:creationId xmlns:a16="http://schemas.microsoft.com/office/drawing/2014/main" id="{5C2863C4-C8CD-F35E-7E7F-C75B86275CC9}"/>
              </a:ext>
            </a:extLst>
          </p:cNvPr>
          <p:cNvSpPr/>
          <p:nvPr/>
        </p:nvSpPr>
        <p:spPr>
          <a:xfrm>
            <a:off x="419100" y="1276351"/>
            <a:ext cx="11353800" cy="39624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6" name="Text 4">
            <a:extLst>
              <a:ext uri="{FF2B5EF4-FFF2-40B4-BE49-F238E27FC236}">
                <a16:creationId xmlns:a16="http://schemas.microsoft.com/office/drawing/2014/main" id="{895CB87A-899F-DFD9-EEC9-8D34DA4FEBA2}"/>
              </a:ext>
            </a:extLst>
          </p:cNvPr>
          <p:cNvSpPr/>
          <p:nvPr/>
        </p:nvSpPr>
        <p:spPr>
          <a:xfrm>
            <a:off x="264319" y="2090403"/>
            <a:ext cx="11963400" cy="250356"/>
          </a:xfrm>
          <a:prstGeom prst="rect">
            <a:avLst/>
          </a:prstGeom>
          <a:noFill/>
          <a:ln/>
        </p:spPr>
        <p:txBody>
          <a:bodyPr wrap="square" lIns="121920" tIns="60960" rIns="121920" bIns="60960" rtlCol="0" anchor="ctr"/>
          <a:lstStyle/>
          <a:p>
            <a:pPr defTabSz="1219170">
              <a:lnSpc>
                <a:spcPts val="2376"/>
              </a:lnSpc>
              <a:defRPr/>
            </a:pPr>
            <a:endParaRPr lang="en-GB" sz="1400" b="1"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ndParaRPr>
          </a:p>
          <a:p>
            <a:pPr defTabSz="1219170">
              <a:lnSpc>
                <a:spcPts val="2376"/>
              </a:lnSpc>
              <a:defRPr/>
            </a:pPr>
            <a:endParaRPr lang="en-US" sz="1900" dirty="0">
              <a:solidFill>
                <a:prstClr val="black"/>
              </a:solidFill>
              <a:latin typeface="Calibri" panose="020F0502020204030204"/>
            </a:endParaRPr>
          </a:p>
        </p:txBody>
      </p:sp>
      <p:sp>
        <p:nvSpPr>
          <p:cNvPr id="14" name="Shape 3">
            <a:extLst>
              <a:ext uri="{FF2B5EF4-FFF2-40B4-BE49-F238E27FC236}">
                <a16:creationId xmlns:a16="http://schemas.microsoft.com/office/drawing/2014/main" id="{CAB82798-4D0F-DEEC-78F4-2EE4A2968EDE}"/>
              </a:ext>
            </a:extLst>
          </p:cNvPr>
          <p:cNvSpPr/>
          <p:nvPr/>
        </p:nvSpPr>
        <p:spPr>
          <a:xfrm>
            <a:off x="1667287" y="2442026"/>
            <a:ext cx="8776463" cy="2943087"/>
          </a:xfrm>
          <a:prstGeom prst="roundRect">
            <a:avLst>
              <a:gd name="adj" fmla="val 7579"/>
            </a:avLst>
          </a:prstGeom>
          <a:ln/>
        </p:spPr>
        <p:style>
          <a:lnRef idx="2">
            <a:schemeClr val="accent6"/>
          </a:lnRef>
          <a:fillRef idx="1">
            <a:schemeClr val="lt1"/>
          </a:fillRef>
          <a:effectRef idx="0">
            <a:schemeClr val="accent6"/>
          </a:effectRef>
          <a:fontRef idx="minor">
            <a:schemeClr val="dk1"/>
          </a:fontRef>
        </p:style>
        <p:txBody>
          <a:bodyPr lIns="121920" tIns="60960" rIns="121920" bIns="60960" anchor="t"/>
          <a:lstStyle/>
          <a:p>
            <a:pPr defTabSz="1219170"/>
            <a:endParaRPr lang="en-GB" sz="1400" dirty="0">
              <a:solidFill>
                <a:srgbClr val="01240E"/>
              </a:solidFill>
              <a:latin typeface="DM Sans" pitchFamily="2" charset="0"/>
            </a:endParaRPr>
          </a:p>
          <a:p>
            <a:pPr defTabSz="1219170"/>
            <a:endParaRPr lang="en-GB" sz="1400" i="1" dirty="0">
              <a:solidFill>
                <a:srgbClr val="01240E"/>
              </a:solidFill>
              <a:latin typeface="DM Sans" pitchFamily="2" charset="0"/>
            </a:endParaRPr>
          </a:p>
          <a:p>
            <a:pPr defTabSz="1219170"/>
            <a:endParaRPr lang="en-GB" sz="1467" i="1" dirty="0">
              <a:solidFill>
                <a:srgbClr val="01240E"/>
              </a:solidFill>
              <a:latin typeface="DM Sans" pitchFamily="2" charset="0"/>
            </a:endParaRPr>
          </a:p>
          <a:p>
            <a:pPr defTabSz="1219170"/>
            <a:r>
              <a:rPr lang="en-GB" sz="1467" i="1" dirty="0">
                <a:solidFill>
                  <a:srgbClr val="01240E"/>
                </a:solidFill>
                <a:latin typeface="DM Sans" pitchFamily="2" charset="0"/>
              </a:rPr>
              <a:t>	</a:t>
            </a:r>
            <a:r>
              <a:rPr lang="en-GB" sz="1467" i="1" dirty="0">
                <a:solidFill>
                  <a:srgbClr val="16A34A"/>
                </a:solidFill>
                <a:latin typeface="DM Sans" pitchFamily="2" charset="0"/>
              </a:rPr>
              <a:t>Why are we here this evening, and what would we like you to consider?</a:t>
            </a:r>
          </a:p>
          <a:p>
            <a:pPr defTabSz="1219170"/>
            <a:endParaRPr lang="en-GB" sz="1467" i="1" dirty="0">
              <a:solidFill>
                <a:prstClr val="black"/>
              </a:solidFill>
              <a:latin typeface="DM Sans" pitchFamily="2" charset="0"/>
            </a:endParaRPr>
          </a:p>
          <a:p>
            <a:pPr defTabSz="1219170"/>
            <a:endParaRPr lang="en-GB" sz="1467" i="1" dirty="0">
              <a:solidFill>
                <a:prstClr val="black"/>
              </a:solidFill>
              <a:latin typeface="DM Sans" pitchFamily="2" charset="0"/>
            </a:endParaRPr>
          </a:p>
          <a:p>
            <a:pPr defTabSz="1219170"/>
            <a:r>
              <a:rPr lang="en-US" sz="1467" i="1" dirty="0">
                <a:solidFill>
                  <a:prstClr val="black"/>
                </a:solidFill>
                <a:latin typeface="Calibri" panose="020F0502020204030204"/>
              </a:rPr>
              <a:t>We’re here to explore how growing clinical services can create real financial resilience and what practical models exist today to help you start doing that</a:t>
            </a:r>
            <a:endParaRPr lang="en-GB" sz="1467" i="1" dirty="0">
              <a:solidFill>
                <a:srgbClr val="16A34A"/>
              </a:solidFill>
              <a:latin typeface="DM Sans" pitchFamily="2" charset="0"/>
            </a:endParaRPr>
          </a:p>
          <a:p>
            <a:pPr defTabSz="1219170"/>
            <a:endParaRPr lang="en-GB" sz="2133" i="1" dirty="0">
              <a:solidFill>
                <a:srgbClr val="16A34A"/>
              </a:solidFill>
              <a:latin typeface="DM Sans" pitchFamily="2" charset="0"/>
            </a:endParaRPr>
          </a:p>
          <a:p>
            <a:pPr defTabSz="1219170"/>
            <a:endParaRPr lang="en-GB" sz="1400" i="1" dirty="0">
              <a:solidFill>
                <a:srgbClr val="70AD47">
                  <a:lumMod val="50000"/>
                </a:srgbClr>
              </a:solidFill>
              <a:latin typeface="DM Sans" pitchFamily="2" charset="0"/>
            </a:endParaRPr>
          </a:p>
          <a:p>
            <a:pPr defTabSz="1219170"/>
            <a:endParaRPr lang="en-GB" sz="1400" dirty="0">
              <a:solidFill>
                <a:srgbClr val="000000"/>
              </a:solidFill>
              <a:latin typeface="DM Sans" pitchFamily="2" charset="0"/>
            </a:endParaRPr>
          </a:p>
        </p:txBody>
      </p:sp>
      <p:sp>
        <p:nvSpPr>
          <p:cNvPr id="18" name="Text 11">
            <a:extLst>
              <a:ext uri="{FF2B5EF4-FFF2-40B4-BE49-F238E27FC236}">
                <a16:creationId xmlns:a16="http://schemas.microsoft.com/office/drawing/2014/main" id="{940AA1FC-BFDE-BB06-AAA6-3EB6B78F66BF}"/>
              </a:ext>
            </a:extLst>
          </p:cNvPr>
          <p:cNvSpPr/>
          <p:nvPr/>
        </p:nvSpPr>
        <p:spPr>
          <a:xfrm>
            <a:off x="239318" y="5869231"/>
            <a:ext cx="11482388" cy="609600"/>
          </a:xfrm>
          <a:prstGeom prst="rect">
            <a:avLst/>
          </a:prstGeom>
          <a:noFill/>
          <a:ln/>
        </p:spPr>
        <p:txBody>
          <a:bodyPr wrap="square" lIns="121920" tIns="60960" rIns="121920" bIns="60960" rtlCol="0" anchor="ctr"/>
          <a:lstStyle/>
          <a:p>
            <a:pPr algn="ctr" defTabSz="1219170">
              <a:lnSpc>
                <a:spcPts val="2376"/>
              </a:lnSpc>
            </a:pPr>
            <a:endParaRPr lang="en-US" dirty="0">
              <a:solidFill>
                <a:prstClr val="black"/>
              </a:solidFill>
              <a:latin typeface="DM Sans"/>
              <a:ea typeface="Calibri" panose="020F0502020204030204"/>
              <a:cs typeface="Calibri" panose="020F0502020204030204"/>
            </a:endParaRPr>
          </a:p>
        </p:txBody>
      </p:sp>
      <p:grpSp>
        <p:nvGrpSpPr>
          <p:cNvPr id="4" name="Group 3">
            <a:extLst>
              <a:ext uri="{FF2B5EF4-FFF2-40B4-BE49-F238E27FC236}">
                <a16:creationId xmlns:a16="http://schemas.microsoft.com/office/drawing/2014/main" id="{20399E85-EC6D-5880-8CBA-C15F85023CE6}"/>
              </a:ext>
            </a:extLst>
          </p:cNvPr>
          <p:cNvGrpSpPr/>
          <p:nvPr/>
        </p:nvGrpSpPr>
        <p:grpSpPr>
          <a:xfrm>
            <a:off x="419100" y="316533"/>
            <a:ext cx="755963" cy="707689"/>
            <a:chOff x="385763" y="4271963"/>
            <a:chExt cx="552450" cy="533156"/>
          </a:xfrm>
        </p:grpSpPr>
        <p:pic>
          <p:nvPicPr>
            <p:cNvPr id="22" name="Image 11" descr="preencoded.png">
              <a:extLst>
                <a:ext uri="{FF2B5EF4-FFF2-40B4-BE49-F238E27FC236}">
                  <a16:creationId xmlns:a16="http://schemas.microsoft.com/office/drawing/2014/main" id="{415F2FB0-3DB1-A6C6-00A2-A2F824108F23}"/>
                </a:ext>
              </a:extLst>
            </p:cNvPr>
            <p:cNvPicPr>
              <a:picLocks noChangeAspect="1"/>
            </p:cNvPicPr>
            <p:nvPr/>
          </p:nvPicPr>
          <p:blipFill>
            <a:blip r:embed="rId3"/>
            <a:stretch>
              <a:fillRect/>
            </a:stretch>
          </p:blipFill>
          <p:spPr>
            <a:xfrm>
              <a:off x="385763" y="4271963"/>
              <a:ext cx="552450" cy="533156"/>
            </a:xfrm>
            <a:prstGeom prst="rect">
              <a:avLst/>
            </a:prstGeom>
          </p:spPr>
        </p:pic>
        <p:pic>
          <p:nvPicPr>
            <p:cNvPr id="23" name="Image 12" descr="preencoded.png">
              <a:extLst>
                <a:ext uri="{FF2B5EF4-FFF2-40B4-BE49-F238E27FC236}">
                  <a16:creationId xmlns:a16="http://schemas.microsoft.com/office/drawing/2014/main" id="{B97ED2BE-A72D-4FA1-FD09-81C54E7586B9}"/>
                </a:ext>
              </a:extLst>
            </p:cNvPr>
            <p:cNvPicPr>
              <a:picLocks noChangeAspect="1"/>
            </p:cNvPicPr>
            <p:nvPr/>
          </p:nvPicPr>
          <p:blipFill>
            <a:blip r:embed="rId4"/>
            <a:stretch>
              <a:fillRect/>
            </a:stretch>
          </p:blipFill>
          <p:spPr>
            <a:xfrm>
              <a:off x="570336" y="4460879"/>
              <a:ext cx="181352" cy="154292"/>
            </a:xfrm>
            <a:prstGeom prst="rect">
              <a:avLst/>
            </a:prstGeom>
          </p:spPr>
        </p:pic>
        <p:pic>
          <p:nvPicPr>
            <p:cNvPr id="24" name="Image 13" descr="preencoded.png">
              <a:extLst>
                <a:ext uri="{FF2B5EF4-FFF2-40B4-BE49-F238E27FC236}">
                  <a16:creationId xmlns:a16="http://schemas.microsoft.com/office/drawing/2014/main" id="{03727FC8-15D1-933A-2D1F-407846085787}"/>
                </a:ext>
              </a:extLst>
            </p:cNvPr>
            <p:cNvPicPr>
              <a:picLocks noChangeAspect="1"/>
            </p:cNvPicPr>
            <p:nvPr/>
          </p:nvPicPr>
          <p:blipFill>
            <a:blip r:embed="rId5"/>
            <a:stretch>
              <a:fillRect/>
            </a:stretch>
          </p:blipFill>
          <p:spPr>
            <a:xfrm>
              <a:off x="493261" y="4363438"/>
              <a:ext cx="335500" cy="335500"/>
            </a:xfrm>
            <a:prstGeom prst="rect">
              <a:avLst/>
            </a:prstGeom>
          </p:spPr>
        </p:pic>
      </p:grpSp>
      <p:pic>
        <p:nvPicPr>
          <p:cNvPr id="8" name="Picture 7">
            <a:extLst>
              <a:ext uri="{FF2B5EF4-FFF2-40B4-BE49-F238E27FC236}">
                <a16:creationId xmlns:a16="http://schemas.microsoft.com/office/drawing/2014/main" id="{7523B962-764E-E28F-2029-243BFC87B7D3}"/>
              </a:ext>
            </a:extLst>
          </p:cNvPr>
          <p:cNvPicPr>
            <a:picLocks noChangeAspect="1"/>
          </p:cNvPicPr>
          <p:nvPr/>
        </p:nvPicPr>
        <p:blipFill>
          <a:blip r:embed="rId6"/>
          <a:stretch>
            <a:fillRect/>
          </a:stretch>
        </p:blipFill>
        <p:spPr>
          <a:xfrm>
            <a:off x="5480051" y="1597808"/>
            <a:ext cx="983821" cy="1281197"/>
          </a:xfrm>
          <a:prstGeom prst="rect">
            <a:avLst/>
          </a:prstGeom>
        </p:spPr>
      </p:pic>
    </p:spTree>
    <p:extLst>
      <p:ext uri="{BB962C8B-B14F-4D97-AF65-F5344CB8AC3E}">
        <p14:creationId xmlns:p14="http://schemas.microsoft.com/office/powerpoint/2010/main" val="972414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D32DC-C65B-9B1B-68A9-E4EFB0BAF0E5}"/>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0132EAF3-EF40-21CE-C763-A9CEC86D2A31}"/>
              </a:ext>
            </a:extLst>
          </p:cNvPr>
          <p:cNvSpPr/>
          <p:nvPr/>
        </p:nvSpPr>
        <p:spPr>
          <a:xfrm>
            <a:off x="242095" y="316533"/>
            <a:ext cx="11626848" cy="707628"/>
          </a:xfrm>
          <a:prstGeom prst="rect">
            <a:avLst/>
          </a:prstGeom>
          <a:noFill/>
          <a:ln/>
        </p:spPr>
        <p:txBody>
          <a:bodyPr wrap="square" lIns="121920" tIns="60960" rIns="121920" bIns="60960" rtlCol="0" anchor="ctr"/>
          <a:lstStyle/>
          <a:p>
            <a:pPr defTabSz="1219170">
              <a:lnSpc>
                <a:spcPts val="2880"/>
              </a:lnSpc>
              <a:defRPr/>
            </a:pPr>
            <a:endParaRPr lang="en-US" sz="2400" dirty="0">
              <a:solidFill>
                <a:prstClr val="black"/>
              </a:solidFill>
              <a:latin typeface="DM Sans"/>
            </a:endParaRPr>
          </a:p>
        </p:txBody>
      </p:sp>
      <p:sp>
        <p:nvSpPr>
          <p:cNvPr id="3" name="Text 1">
            <a:extLst>
              <a:ext uri="{FF2B5EF4-FFF2-40B4-BE49-F238E27FC236}">
                <a16:creationId xmlns:a16="http://schemas.microsoft.com/office/drawing/2014/main" id="{FA8CD6A9-ACA8-DD39-F1AC-B8EC02E3BDE7}"/>
              </a:ext>
            </a:extLst>
          </p:cNvPr>
          <p:cNvSpPr/>
          <p:nvPr/>
        </p:nvSpPr>
        <p:spPr>
          <a:xfrm>
            <a:off x="5480051" y="4406901"/>
            <a:ext cx="1841500" cy="342900"/>
          </a:xfrm>
          <a:prstGeom prst="rect">
            <a:avLst/>
          </a:prstGeom>
          <a:noFill/>
          <a:ln/>
        </p:spPr>
        <p:txBody>
          <a:bodyPr wrap="square" rtlCol="0" anchor="ctr"/>
          <a:lstStyle/>
          <a:p>
            <a:pPr algn="ctr" defTabSz="1219170">
              <a:lnSpc>
                <a:spcPts val="2700"/>
              </a:lnSpc>
              <a:defRPr/>
            </a:pPr>
            <a:r>
              <a:rPr lang="en-US" sz="2000" b="1" kern="0" spc="-40" dirty="0">
                <a:solidFill>
                  <a:srgbClr val="FFFFFF">
                    <a:alpha val="99000"/>
                  </a:srgbClr>
                </a:solidFill>
                <a:latin typeface="DM Sans" pitchFamily="34" charset="0"/>
                <a:ea typeface="DM Sans" pitchFamily="34" charset="-122"/>
                <a:cs typeface="DM Sans" pitchFamily="34" charset="-120"/>
              </a:rPr>
              <a:t>The Result</a:t>
            </a:r>
            <a:endParaRPr lang="en-US" sz="2000" dirty="0">
              <a:solidFill>
                <a:prstClr val="black"/>
              </a:solidFill>
              <a:latin typeface="Calibri" panose="020F0502020204030204"/>
            </a:endParaRPr>
          </a:p>
        </p:txBody>
      </p:sp>
      <p:sp>
        <p:nvSpPr>
          <p:cNvPr id="5" name="Shape 3">
            <a:extLst>
              <a:ext uri="{FF2B5EF4-FFF2-40B4-BE49-F238E27FC236}">
                <a16:creationId xmlns:a16="http://schemas.microsoft.com/office/drawing/2014/main" id="{FD090A00-811A-48F6-6256-41DC25C58B4D}"/>
              </a:ext>
            </a:extLst>
          </p:cNvPr>
          <p:cNvSpPr/>
          <p:nvPr/>
        </p:nvSpPr>
        <p:spPr>
          <a:xfrm>
            <a:off x="419100" y="1276351"/>
            <a:ext cx="11353800" cy="39624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6" name="Text 4">
            <a:extLst>
              <a:ext uri="{FF2B5EF4-FFF2-40B4-BE49-F238E27FC236}">
                <a16:creationId xmlns:a16="http://schemas.microsoft.com/office/drawing/2014/main" id="{CCE1518B-9FF0-D995-564F-5B05BC702592}"/>
              </a:ext>
            </a:extLst>
          </p:cNvPr>
          <p:cNvSpPr/>
          <p:nvPr/>
        </p:nvSpPr>
        <p:spPr>
          <a:xfrm>
            <a:off x="264319" y="2090403"/>
            <a:ext cx="11963400" cy="250356"/>
          </a:xfrm>
          <a:prstGeom prst="rect">
            <a:avLst/>
          </a:prstGeom>
          <a:noFill/>
          <a:ln/>
        </p:spPr>
        <p:txBody>
          <a:bodyPr wrap="square" lIns="121920" tIns="60960" rIns="121920" bIns="60960" rtlCol="0" anchor="ctr"/>
          <a:lstStyle/>
          <a:p>
            <a:pPr defTabSz="1219170">
              <a:lnSpc>
                <a:spcPts val="2376"/>
              </a:lnSpc>
              <a:defRPr/>
            </a:pPr>
            <a:endParaRPr lang="en-GB" sz="1400" b="1"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a typeface="DM Sans" pitchFamily="34" charset="-122"/>
              <a:cs typeface="DM Sans" pitchFamily="34" charset="-120"/>
            </a:endParaRPr>
          </a:p>
          <a:p>
            <a:pPr defTabSz="1219170">
              <a:lnSpc>
                <a:spcPts val="2376"/>
              </a:lnSpc>
              <a:defRPr/>
            </a:pPr>
            <a:endParaRPr lang="en-GB" sz="1400" kern="0" spc="-36" dirty="0">
              <a:solidFill>
                <a:srgbClr val="01240E">
                  <a:alpha val="99000"/>
                </a:srgbClr>
              </a:solidFill>
              <a:latin typeface="DM Sans" pitchFamily="34" charset="0"/>
            </a:endParaRPr>
          </a:p>
          <a:p>
            <a:pPr defTabSz="1219170">
              <a:lnSpc>
                <a:spcPts val="2376"/>
              </a:lnSpc>
              <a:defRPr/>
            </a:pPr>
            <a:endParaRPr lang="en-US" sz="1900" dirty="0">
              <a:solidFill>
                <a:prstClr val="black"/>
              </a:solidFill>
              <a:latin typeface="Calibri" panose="020F0502020204030204"/>
            </a:endParaRPr>
          </a:p>
        </p:txBody>
      </p:sp>
      <p:sp>
        <p:nvSpPr>
          <p:cNvPr id="14" name="Shape 3">
            <a:extLst>
              <a:ext uri="{FF2B5EF4-FFF2-40B4-BE49-F238E27FC236}">
                <a16:creationId xmlns:a16="http://schemas.microsoft.com/office/drawing/2014/main" id="{85F9C8AF-3C98-5C66-F2DE-9909FE8D70FD}"/>
              </a:ext>
            </a:extLst>
          </p:cNvPr>
          <p:cNvSpPr/>
          <p:nvPr/>
        </p:nvSpPr>
        <p:spPr>
          <a:xfrm>
            <a:off x="2849339" y="1364869"/>
            <a:ext cx="8776463" cy="1883599"/>
          </a:xfrm>
          <a:prstGeom prst="roundRect">
            <a:avLst>
              <a:gd name="adj" fmla="val 7579"/>
            </a:avLst>
          </a:prstGeom>
          <a:solidFill>
            <a:srgbClr val="FBFFFC"/>
          </a:solidFill>
          <a:ln>
            <a:solidFill>
              <a:schemeClr val="bg2"/>
            </a:solidFill>
          </a:ln>
        </p:spPr>
        <p:txBody>
          <a:bodyPr lIns="121920" tIns="60960" rIns="121920" bIns="60960" anchor="t"/>
          <a:lstStyle/>
          <a:p>
            <a:pPr defTabSz="1219170"/>
            <a:endParaRPr lang="en-GB" sz="1400" dirty="0">
              <a:solidFill>
                <a:srgbClr val="01240E"/>
              </a:solidFill>
              <a:latin typeface="DM Sans" pitchFamily="2" charset="0"/>
            </a:endParaRPr>
          </a:p>
          <a:p>
            <a:pPr marL="228594" indent="-228594" defTabSz="1219170">
              <a:buFont typeface="Arial"/>
              <a:buChar char="•"/>
            </a:pPr>
            <a:r>
              <a:rPr lang="en-US" sz="2133" b="1" kern="0" spc="-48" dirty="0">
                <a:solidFill>
                  <a:srgbClr val="01240E">
                    <a:alpha val="99000"/>
                  </a:srgbClr>
                </a:solidFill>
                <a:latin typeface="DM Sans"/>
              </a:rPr>
              <a:t> </a:t>
            </a:r>
            <a:r>
              <a:rPr lang="en-US" sz="1467" b="1" kern="0" spc="-48" dirty="0">
                <a:solidFill>
                  <a:srgbClr val="01240E">
                    <a:alpha val="99000"/>
                  </a:srgbClr>
                </a:solidFill>
                <a:latin typeface="DM Sans"/>
              </a:rPr>
              <a:t>Dr Milan Koya – Medical Director at Virtually Health Systems</a:t>
            </a:r>
            <a:endParaRPr lang="en-US" sz="1467" b="1" kern="0" spc="-48" dirty="0">
              <a:solidFill>
                <a:srgbClr val="01240E">
                  <a:alpha val="99000"/>
                </a:srgbClr>
              </a:solidFill>
              <a:highlight>
                <a:srgbClr val="FF0000"/>
              </a:highlight>
              <a:latin typeface="DM Sans"/>
            </a:endParaRPr>
          </a:p>
          <a:p>
            <a:pPr marL="228594" indent="-228594" defTabSz="1219170">
              <a:buFont typeface="Arial"/>
              <a:buChar char="•"/>
            </a:pPr>
            <a:endParaRPr lang="en-US" sz="1467" b="1" kern="0" spc="-48" dirty="0">
              <a:solidFill>
                <a:srgbClr val="01240E">
                  <a:alpha val="99000"/>
                </a:srgbClr>
              </a:solidFill>
              <a:latin typeface="DM Sans"/>
            </a:endParaRPr>
          </a:p>
          <a:p>
            <a:pPr marL="304792" indent="-304792" defTabSz="1219170">
              <a:buFont typeface="Arial" panose="020B0604020202020204" pitchFamily="34" charset="0"/>
              <a:buChar char="•"/>
            </a:pPr>
            <a:r>
              <a:rPr lang="en-US" sz="1467" b="1" kern="0" spc="-48" dirty="0">
                <a:solidFill>
                  <a:srgbClr val="01240E">
                    <a:alpha val="99000"/>
                  </a:srgbClr>
                </a:solidFill>
                <a:latin typeface="DM Sans"/>
              </a:rPr>
              <a:t>Medical advisor for the Parliamentary and Health Service Ombudsman</a:t>
            </a:r>
            <a:endParaRPr lang="en-US" sz="2133" b="1" kern="0" spc="-48" dirty="0">
              <a:solidFill>
                <a:srgbClr val="01240E">
                  <a:alpha val="99000"/>
                </a:srgbClr>
              </a:solidFill>
              <a:latin typeface="DM Sans"/>
            </a:endParaRPr>
          </a:p>
          <a:p>
            <a:pPr defTabSz="1219170"/>
            <a:endParaRPr lang="en-GB" sz="2133" i="1" dirty="0">
              <a:solidFill>
                <a:srgbClr val="01240E"/>
              </a:solidFill>
              <a:highlight>
                <a:srgbClr val="FFFF00"/>
              </a:highlight>
              <a:latin typeface="DM Sans" pitchFamily="2" charset="0"/>
            </a:endParaRPr>
          </a:p>
          <a:p>
            <a:pPr defTabSz="1219170"/>
            <a:endParaRPr lang="en-US" sz="1467" b="1" kern="0" spc="-48" dirty="0">
              <a:solidFill>
                <a:srgbClr val="01240E">
                  <a:alpha val="99000"/>
                </a:srgbClr>
              </a:solidFill>
              <a:latin typeface="DM Sans"/>
            </a:endParaRPr>
          </a:p>
          <a:p>
            <a:pPr defTabSz="1219170"/>
            <a:endParaRPr lang="en-GB" sz="2133" i="1" dirty="0">
              <a:solidFill>
                <a:srgbClr val="01240E"/>
              </a:solidFill>
              <a:highlight>
                <a:srgbClr val="FFFF00"/>
              </a:highlight>
              <a:latin typeface="DM Sans" pitchFamily="2" charset="0"/>
            </a:endParaRPr>
          </a:p>
          <a:p>
            <a:pPr defTabSz="1219170"/>
            <a:endParaRPr lang="en-GB" sz="1400" i="1" dirty="0">
              <a:solidFill>
                <a:srgbClr val="70AD47">
                  <a:lumMod val="50000"/>
                </a:srgbClr>
              </a:solidFill>
              <a:latin typeface="DM Sans" pitchFamily="2" charset="0"/>
            </a:endParaRPr>
          </a:p>
          <a:p>
            <a:pPr defTabSz="1219170"/>
            <a:endParaRPr lang="en-GB" sz="1400" dirty="0">
              <a:solidFill>
                <a:srgbClr val="000000"/>
              </a:solidFill>
              <a:latin typeface="DM Sans" pitchFamily="2" charset="0"/>
            </a:endParaRPr>
          </a:p>
        </p:txBody>
      </p:sp>
      <p:sp>
        <p:nvSpPr>
          <p:cNvPr id="18" name="Text 11">
            <a:extLst>
              <a:ext uri="{FF2B5EF4-FFF2-40B4-BE49-F238E27FC236}">
                <a16:creationId xmlns:a16="http://schemas.microsoft.com/office/drawing/2014/main" id="{FF5859DF-B0BC-F279-C7FF-E0754B4CB346}"/>
              </a:ext>
            </a:extLst>
          </p:cNvPr>
          <p:cNvSpPr/>
          <p:nvPr/>
        </p:nvSpPr>
        <p:spPr>
          <a:xfrm>
            <a:off x="239318" y="5869231"/>
            <a:ext cx="11482388" cy="609600"/>
          </a:xfrm>
          <a:prstGeom prst="rect">
            <a:avLst/>
          </a:prstGeom>
          <a:noFill/>
          <a:ln/>
        </p:spPr>
        <p:txBody>
          <a:bodyPr wrap="square" lIns="121920" tIns="60960" rIns="121920" bIns="60960" rtlCol="0" anchor="ctr"/>
          <a:lstStyle/>
          <a:p>
            <a:pPr algn="ctr" defTabSz="1219170">
              <a:lnSpc>
                <a:spcPts val="2376"/>
              </a:lnSpc>
            </a:pPr>
            <a:endParaRPr lang="en-US" dirty="0">
              <a:solidFill>
                <a:prstClr val="black"/>
              </a:solidFill>
              <a:latin typeface="DM Sans"/>
              <a:ea typeface="Calibri" panose="020F0502020204030204"/>
              <a:cs typeface="Calibri" panose="020F0502020204030204"/>
            </a:endParaRPr>
          </a:p>
        </p:txBody>
      </p:sp>
      <p:sp>
        <p:nvSpPr>
          <p:cNvPr id="8" name="Shape 2">
            <a:extLst>
              <a:ext uri="{FF2B5EF4-FFF2-40B4-BE49-F238E27FC236}">
                <a16:creationId xmlns:a16="http://schemas.microsoft.com/office/drawing/2014/main" id="{759EA566-F232-1199-3830-0BA8F61EDEF8}"/>
              </a:ext>
            </a:extLst>
          </p:cNvPr>
          <p:cNvSpPr/>
          <p:nvPr/>
        </p:nvSpPr>
        <p:spPr>
          <a:xfrm>
            <a:off x="149275" y="155816"/>
            <a:ext cx="11476527" cy="956861"/>
          </a:xfrm>
          <a:prstGeom prst="roundRect">
            <a:avLst/>
          </a:prstGeom>
          <a:solidFill>
            <a:schemeClr val="bg1"/>
          </a:solidFill>
          <a:ln>
            <a:solidFill>
              <a:schemeClr val="bg2"/>
            </a:solidFill>
          </a:ln>
        </p:spPr>
        <p:txBody>
          <a:bodyPr lIns="121920" tIns="60960" rIns="121920" bIns="60960" anchor="t"/>
          <a:lstStyle/>
          <a:p>
            <a:pPr defTabSz="1219170">
              <a:defRPr/>
            </a:pPr>
            <a:endParaRPr lang="en-GB" sz="1467" b="1" dirty="0">
              <a:solidFill>
                <a:srgbClr val="01240E"/>
              </a:solidFill>
              <a:latin typeface="DM Sans"/>
            </a:endParaRPr>
          </a:p>
        </p:txBody>
      </p:sp>
      <p:sp>
        <p:nvSpPr>
          <p:cNvPr id="9" name="TextBox 8">
            <a:extLst>
              <a:ext uri="{FF2B5EF4-FFF2-40B4-BE49-F238E27FC236}">
                <a16:creationId xmlns:a16="http://schemas.microsoft.com/office/drawing/2014/main" id="{19E66FCF-D53B-380B-D07F-54E7CB4072C3}"/>
              </a:ext>
            </a:extLst>
          </p:cNvPr>
          <p:cNvSpPr txBox="1"/>
          <p:nvPr/>
        </p:nvSpPr>
        <p:spPr>
          <a:xfrm>
            <a:off x="2287686" y="370318"/>
            <a:ext cx="7191375" cy="71006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defTabSz="1219170"/>
            <a:r>
              <a:rPr lang="en-GB" sz="1907" b="1" dirty="0">
                <a:solidFill>
                  <a:srgbClr val="01240E"/>
                </a:solidFill>
                <a:latin typeface="DM Sans"/>
              </a:rPr>
              <a:t>Introductions</a:t>
            </a:r>
            <a:endParaRPr lang="en-GB" sz="1907" dirty="0">
              <a:solidFill>
                <a:prstClr val="black"/>
              </a:solidFill>
              <a:latin typeface="Calibri" panose="020F0502020204030204"/>
            </a:endParaRPr>
          </a:p>
          <a:p>
            <a:pPr algn="ctr" defTabSz="1219170"/>
            <a:endParaRPr lang="en-GB" sz="1907" dirty="0">
              <a:solidFill>
                <a:prstClr val="black"/>
              </a:solidFill>
              <a:latin typeface="Calibri" panose="020F0502020204030204"/>
            </a:endParaRPr>
          </a:p>
        </p:txBody>
      </p:sp>
      <p:sp>
        <p:nvSpPr>
          <p:cNvPr id="7" name="Rectangle: Rounded Corners 6">
            <a:extLst>
              <a:ext uri="{FF2B5EF4-FFF2-40B4-BE49-F238E27FC236}">
                <a16:creationId xmlns:a16="http://schemas.microsoft.com/office/drawing/2014/main" id="{FED89985-7887-B643-B1BC-AD74589F1977}"/>
              </a:ext>
            </a:extLst>
          </p:cNvPr>
          <p:cNvSpPr/>
          <p:nvPr/>
        </p:nvSpPr>
        <p:spPr>
          <a:xfrm>
            <a:off x="385427" y="1426883"/>
            <a:ext cx="2178724" cy="185175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1219170"/>
            <a:endParaRPr lang="en-GB" sz="2400">
              <a:solidFill>
                <a:prstClr val="black"/>
              </a:solidFill>
              <a:latin typeface="Calibri" panose="020F0502020204030204"/>
            </a:endParaRPr>
          </a:p>
        </p:txBody>
      </p:sp>
      <p:sp>
        <p:nvSpPr>
          <p:cNvPr id="12" name="Rectangle: Rounded Corners 11">
            <a:extLst>
              <a:ext uri="{FF2B5EF4-FFF2-40B4-BE49-F238E27FC236}">
                <a16:creationId xmlns:a16="http://schemas.microsoft.com/office/drawing/2014/main" id="{1482618D-FE32-F8CC-CCB9-96973662F934}"/>
              </a:ext>
            </a:extLst>
          </p:cNvPr>
          <p:cNvSpPr/>
          <p:nvPr/>
        </p:nvSpPr>
        <p:spPr>
          <a:xfrm>
            <a:off x="385426" y="4476549"/>
            <a:ext cx="2178724" cy="185175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1219170"/>
            <a:endParaRPr lang="en-GB" sz="2400">
              <a:solidFill>
                <a:prstClr val="black"/>
              </a:solidFill>
              <a:latin typeface="Calibri" panose="020F0502020204030204"/>
            </a:endParaRPr>
          </a:p>
        </p:txBody>
      </p:sp>
      <p:sp>
        <p:nvSpPr>
          <p:cNvPr id="17" name="Shape 3">
            <a:extLst>
              <a:ext uri="{FF2B5EF4-FFF2-40B4-BE49-F238E27FC236}">
                <a16:creationId xmlns:a16="http://schemas.microsoft.com/office/drawing/2014/main" id="{D2A96105-9FF6-10EA-8D2C-B597B4ADACB8}"/>
              </a:ext>
            </a:extLst>
          </p:cNvPr>
          <p:cNvSpPr/>
          <p:nvPr/>
        </p:nvSpPr>
        <p:spPr>
          <a:xfrm>
            <a:off x="2849339" y="4476547"/>
            <a:ext cx="8776463" cy="1920636"/>
          </a:xfrm>
          <a:prstGeom prst="roundRect">
            <a:avLst>
              <a:gd name="adj" fmla="val 7579"/>
            </a:avLst>
          </a:prstGeom>
          <a:solidFill>
            <a:srgbClr val="FBFFFC"/>
          </a:solidFill>
          <a:ln>
            <a:solidFill>
              <a:schemeClr val="bg2"/>
            </a:solidFill>
          </a:ln>
        </p:spPr>
        <p:txBody>
          <a:bodyPr lIns="121920" tIns="60960" rIns="121920" bIns="60960" anchor="t"/>
          <a:lstStyle/>
          <a:p>
            <a:pPr defTabSz="1219170"/>
            <a:endParaRPr lang="en-GB" sz="1467" dirty="0">
              <a:solidFill>
                <a:srgbClr val="01240E"/>
              </a:solidFill>
              <a:latin typeface="DM Sans" pitchFamily="2" charset="0"/>
            </a:endParaRPr>
          </a:p>
          <a:p>
            <a:pPr marL="228594" indent="-228594" defTabSz="1219170">
              <a:buFont typeface="Arial"/>
              <a:buChar char="•"/>
            </a:pPr>
            <a:r>
              <a:rPr lang="en-US" sz="1467" b="1" kern="0" spc="-48" dirty="0">
                <a:solidFill>
                  <a:srgbClr val="01240E">
                    <a:alpha val="99000"/>
                  </a:srgbClr>
                </a:solidFill>
                <a:latin typeface="DM Sans"/>
                <a:ea typeface="DM Sans" pitchFamily="34" charset="-122"/>
                <a:cs typeface="DM Sans" pitchFamily="34" charset="-120"/>
              </a:rPr>
              <a:t>Lucy Beazley – Head of Sales &amp; Partnerships</a:t>
            </a:r>
          </a:p>
          <a:p>
            <a:pPr marL="228594" indent="-228594" defTabSz="1219170">
              <a:buFont typeface="Arial"/>
              <a:buChar char="•"/>
            </a:pPr>
            <a:endParaRPr lang="en-US" sz="1467" b="1" kern="0" spc="-48" dirty="0">
              <a:solidFill>
                <a:srgbClr val="01240E">
                  <a:alpha val="99000"/>
                </a:srgbClr>
              </a:solidFill>
              <a:latin typeface="DM Sans"/>
              <a:ea typeface="DM Sans" pitchFamily="34" charset="-122"/>
              <a:cs typeface="DM Sans" pitchFamily="34" charset="-120"/>
            </a:endParaRPr>
          </a:p>
          <a:p>
            <a:pPr marL="228594" indent="-228594" defTabSz="1219170">
              <a:buFont typeface="Arial"/>
              <a:buChar char="•"/>
            </a:pPr>
            <a:r>
              <a:rPr lang="en-US" sz="1467" b="1" kern="0" spc="-48" dirty="0">
                <a:solidFill>
                  <a:srgbClr val="01240E">
                    <a:alpha val="99000"/>
                  </a:srgbClr>
                </a:solidFill>
                <a:latin typeface="DM Sans"/>
                <a:ea typeface="DM Sans" pitchFamily="34" charset="-122"/>
                <a:cs typeface="DM Sans" pitchFamily="34" charset="-120"/>
              </a:rPr>
              <a:t>Veteran, 23 years across Pharmaceuticals, Med Tech and SaaS</a:t>
            </a:r>
          </a:p>
          <a:p>
            <a:pPr defTabSz="1219170"/>
            <a:endParaRPr lang="en-US" sz="1467" b="1" kern="0" spc="-48" dirty="0">
              <a:solidFill>
                <a:srgbClr val="01240E">
                  <a:alpha val="99000"/>
                </a:srgbClr>
              </a:solidFill>
              <a:latin typeface="DM Sans"/>
              <a:ea typeface="DM Sans" pitchFamily="34" charset="-122"/>
              <a:cs typeface="DM Sans" pitchFamily="34" charset="-120"/>
            </a:endParaRPr>
          </a:p>
          <a:p>
            <a:pPr marL="228594" indent="-228594" defTabSz="1219170">
              <a:buFont typeface="Arial" panose="020B0604020202020204" pitchFamily="34" charset="0"/>
              <a:buChar char="•"/>
            </a:pPr>
            <a:r>
              <a:rPr lang="en-US" sz="1467" b="1" kern="0" spc="-48" dirty="0">
                <a:solidFill>
                  <a:srgbClr val="01240E">
                    <a:alpha val="99000"/>
                  </a:srgbClr>
                </a:solidFill>
                <a:latin typeface="DM Sans"/>
              </a:rPr>
              <a:t>NHS Trust Governor </a:t>
            </a:r>
          </a:p>
          <a:p>
            <a:pPr defTabSz="1219170"/>
            <a:endParaRPr lang="en-US" sz="1467" b="1" i="1" kern="0" spc="-48" dirty="0">
              <a:solidFill>
                <a:srgbClr val="01240E">
                  <a:alpha val="99000"/>
                </a:srgbClr>
              </a:solidFill>
              <a:latin typeface="DM Sans"/>
            </a:endParaRPr>
          </a:p>
          <a:p>
            <a:pPr marL="304792" indent="-304792" defTabSz="1219170">
              <a:buFont typeface="Arial" panose="020B0604020202020204" pitchFamily="34" charset="0"/>
              <a:buChar char="•"/>
            </a:pPr>
            <a:endParaRPr lang="en-US" sz="1467" b="1" kern="0" spc="-48" dirty="0">
              <a:solidFill>
                <a:srgbClr val="01240E">
                  <a:alpha val="99000"/>
                </a:srgbClr>
              </a:solidFill>
              <a:latin typeface="DM Sans"/>
            </a:endParaRPr>
          </a:p>
          <a:p>
            <a:pPr marL="228594" indent="-228594" defTabSz="1219170">
              <a:buFont typeface="Arial"/>
              <a:buChar char="•"/>
            </a:pPr>
            <a:endParaRPr lang="en-US" sz="2133" b="1" kern="0" spc="-48" dirty="0">
              <a:solidFill>
                <a:srgbClr val="01240E">
                  <a:alpha val="99000"/>
                </a:srgbClr>
              </a:solidFill>
              <a:latin typeface="DM Sans"/>
            </a:endParaRPr>
          </a:p>
          <a:p>
            <a:pPr defTabSz="1219170"/>
            <a:endParaRPr lang="en-GB" sz="2133" i="1" dirty="0">
              <a:solidFill>
                <a:srgbClr val="01240E"/>
              </a:solidFill>
              <a:latin typeface="DM Sans" pitchFamily="2" charset="0"/>
            </a:endParaRPr>
          </a:p>
          <a:p>
            <a:pPr defTabSz="1219170"/>
            <a:endParaRPr lang="en-GB" sz="1400" i="1" dirty="0">
              <a:solidFill>
                <a:srgbClr val="70AD47">
                  <a:lumMod val="50000"/>
                </a:srgbClr>
              </a:solidFill>
              <a:latin typeface="DM Sans" pitchFamily="2" charset="0"/>
            </a:endParaRPr>
          </a:p>
          <a:p>
            <a:pPr defTabSz="1219170"/>
            <a:endParaRPr lang="en-GB" sz="1400" dirty="0">
              <a:solidFill>
                <a:srgbClr val="000000"/>
              </a:solidFill>
              <a:latin typeface="DM Sans" pitchFamily="2" charset="0"/>
            </a:endParaRPr>
          </a:p>
        </p:txBody>
      </p:sp>
      <p:pic>
        <p:nvPicPr>
          <p:cNvPr id="20" name="Picture 19">
            <a:extLst>
              <a:ext uri="{FF2B5EF4-FFF2-40B4-BE49-F238E27FC236}">
                <a16:creationId xmlns:a16="http://schemas.microsoft.com/office/drawing/2014/main" id="{9E1F6933-453B-3272-BA4B-2DA9F36A039F}"/>
              </a:ext>
            </a:extLst>
          </p:cNvPr>
          <p:cNvPicPr>
            <a:picLocks noChangeAspect="1"/>
          </p:cNvPicPr>
          <p:nvPr/>
        </p:nvPicPr>
        <p:blipFill>
          <a:blip r:embed="rId3"/>
          <a:stretch>
            <a:fillRect/>
          </a:stretch>
        </p:blipFill>
        <p:spPr>
          <a:xfrm>
            <a:off x="641381" y="1517606"/>
            <a:ext cx="1646305" cy="164630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5" name="Picture 24">
            <a:extLst>
              <a:ext uri="{FF2B5EF4-FFF2-40B4-BE49-F238E27FC236}">
                <a16:creationId xmlns:a16="http://schemas.microsoft.com/office/drawing/2014/main" id="{3C7A1FBA-8CCD-02A3-464F-FA990ABE7847}"/>
              </a:ext>
            </a:extLst>
          </p:cNvPr>
          <p:cNvPicPr>
            <a:picLocks noChangeAspect="1"/>
          </p:cNvPicPr>
          <p:nvPr/>
        </p:nvPicPr>
        <p:blipFill>
          <a:blip r:embed="rId4"/>
          <a:stretch>
            <a:fillRect/>
          </a:stretch>
        </p:blipFill>
        <p:spPr>
          <a:xfrm>
            <a:off x="641187" y="4547852"/>
            <a:ext cx="1699104" cy="16991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826767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a:extLst>
            <a:ext uri="{FF2B5EF4-FFF2-40B4-BE49-F238E27FC236}">
              <a16:creationId xmlns:a16="http://schemas.microsoft.com/office/drawing/2014/main" id="{750C7D41-40CA-D09C-449D-33CA26B19D36}"/>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23152D55-3EFC-64CA-2686-F4F852DC772A}"/>
              </a:ext>
            </a:extLst>
          </p:cNvPr>
          <p:cNvSpPr/>
          <p:nvPr/>
        </p:nvSpPr>
        <p:spPr>
          <a:xfrm>
            <a:off x="254001" y="127001"/>
            <a:ext cx="6590449" cy="492932"/>
          </a:xfrm>
          <a:prstGeom prst="rect">
            <a:avLst/>
          </a:prstGeom>
          <a:noFill/>
          <a:ln/>
        </p:spPr>
        <p:txBody>
          <a:bodyPr wrap="square" rtlCol="0" anchor="ctr"/>
          <a:lstStyle/>
          <a:p>
            <a:pPr defTabSz="1219170">
              <a:lnSpc>
                <a:spcPts val="2880"/>
              </a:lnSpc>
              <a:defRPr/>
            </a:pPr>
            <a:r>
              <a:rPr lang="en-US" sz="2400" b="1" kern="0" spc="-48" dirty="0">
                <a:solidFill>
                  <a:srgbClr val="000000">
                    <a:alpha val="99000"/>
                  </a:srgbClr>
                </a:solidFill>
                <a:latin typeface="DM Sans" pitchFamily="34" charset="0"/>
                <a:ea typeface="DM Sans" pitchFamily="34" charset="-122"/>
                <a:cs typeface="DM Sans" pitchFamily="34" charset="-120"/>
              </a:rPr>
              <a:t>Virty’s Clinical Team</a:t>
            </a:r>
            <a:endParaRPr lang="en-US" sz="2400" dirty="0">
              <a:solidFill>
                <a:prstClr val="black"/>
              </a:solidFill>
              <a:latin typeface="Calibri" panose="020F0502020204030204"/>
            </a:endParaRPr>
          </a:p>
        </p:txBody>
      </p:sp>
      <p:sp>
        <p:nvSpPr>
          <p:cNvPr id="3" name="Shape 1">
            <a:extLst>
              <a:ext uri="{FF2B5EF4-FFF2-40B4-BE49-F238E27FC236}">
                <a16:creationId xmlns:a16="http://schemas.microsoft.com/office/drawing/2014/main" id="{10860F93-C6C0-75AB-3F35-7BB528B791D7}"/>
              </a:ext>
            </a:extLst>
          </p:cNvPr>
          <p:cNvSpPr/>
          <p:nvPr/>
        </p:nvSpPr>
        <p:spPr>
          <a:xfrm>
            <a:off x="2901951" y="1663701"/>
            <a:ext cx="6792912" cy="353695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4" name="Shape 2">
            <a:extLst>
              <a:ext uri="{FF2B5EF4-FFF2-40B4-BE49-F238E27FC236}">
                <a16:creationId xmlns:a16="http://schemas.microsoft.com/office/drawing/2014/main" id="{8C6B12A1-E377-3A49-459B-DCCEA37C459E}"/>
              </a:ext>
            </a:extLst>
          </p:cNvPr>
          <p:cNvSpPr/>
          <p:nvPr/>
        </p:nvSpPr>
        <p:spPr>
          <a:xfrm>
            <a:off x="2901951" y="1663700"/>
            <a:ext cx="1847851" cy="32512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5" name="Shape 3">
            <a:extLst>
              <a:ext uri="{FF2B5EF4-FFF2-40B4-BE49-F238E27FC236}">
                <a16:creationId xmlns:a16="http://schemas.microsoft.com/office/drawing/2014/main" id="{32DCDF6F-E64D-D64B-EDA1-2173FD7B73C5}"/>
              </a:ext>
            </a:extLst>
          </p:cNvPr>
          <p:cNvSpPr/>
          <p:nvPr/>
        </p:nvSpPr>
        <p:spPr>
          <a:xfrm>
            <a:off x="2901951" y="1663700"/>
            <a:ext cx="1847851" cy="32512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9" name="Shape 6">
            <a:extLst>
              <a:ext uri="{FF2B5EF4-FFF2-40B4-BE49-F238E27FC236}">
                <a16:creationId xmlns:a16="http://schemas.microsoft.com/office/drawing/2014/main" id="{634ADA27-71ED-9571-F7F7-C024FC74410D}"/>
              </a:ext>
            </a:extLst>
          </p:cNvPr>
          <p:cNvSpPr/>
          <p:nvPr/>
        </p:nvSpPr>
        <p:spPr>
          <a:xfrm>
            <a:off x="5372100" y="1663700"/>
            <a:ext cx="1849437" cy="32512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13" name="Shape 9">
            <a:extLst>
              <a:ext uri="{FF2B5EF4-FFF2-40B4-BE49-F238E27FC236}">
                <a16:creationId xmlns:a16="http://schemas.microsoft.com/office/drawing/2014/main" id="{3D2A4667-588C-25E1-723E-7EA9855AD5E1}"/>
              </a:ext>
            </a:extLst>
          </p:cNvPr>
          <p:cNvSpPr/>
          <p:nvPr/>
        </p:nvSpPr>
        <p:spPr>
          <a:xfrm>
            <a:off x="7843838" y="1663701"/>
            <a:ext cx="1851025" cy="353695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14" name="Rectangle: Rounded Corners 13">
            <a:extLst>
              <a:ext uri="{FF2B5EF4-FFF2-40B4-BE49-F238E27FC236}">
                <a16:creationId xmlns:a16="http://schemas.microsoft.com/office/drawing/2014/main" id="{B932FEAB-0A73-1EB9-4C30-632D9BADADFC}"/>
              </a:ext>
            </a:extLst>
          </p:cNvPr>
          <p:cNvSpPr/>
          <p:nvPr/>
        </p:nvSpPr>
        <p:spPr>
          <a:xfrm>
            <a:off x="254000" y="802268"/>
            <a:ext cx="11542120" cy="1826488"/>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defTabSz="1219170"/>
            <a:r>
              <a:rPr lang="en-GB" sz="1600" b="1">
                <a:solidFill>
                  <a:srgbClr val="199044"/>
                </a:solidFill>
                <a:latin typeface="DM Sans"/>
              </a:rPr>
              <a:t>Our Clinical Psychologists</a:t>
            </a:r>
          </a:p>
          <a:p>
            <a:pPr defTabSz="1219170"/>
            <a:r>
              <a:rPr lang="en-GB" sz="1400" dirty="0">
                <a:solidFill>
                  <a:prstClr val="black"/>
                </a:solidFill>
                <a:latin typeface="DM Sans"/>
              </a:rPr>
              <a:t>Our Clinical Psychologists are degree-qualified professionals with accredited training in Psychology, holding undergraduate degrees in Psychology and advanced clinical training. They are experienced in evidence-based approaches such as Cognitive Behavioural Therapy (CBT), behaviour change science, and structured therapeutic interventions. Their role within </a:t>
            </a:r>
            <a:r>
              <a:rPr lang="en-GB" sz="1400" dirty="0" err="1">
                <a:solidFill>
                  <a:prstClr val="black"/>
                </a:solidFill>
                <a:latin typeface="DM Sans"/>
              </a:rPr>
              <a:t>Virty</a:t>
            </a:r>
            <a:r>
              <a:rPr lang="en-GB" sz="1400" dirty="0">
                <a:solidFill>
                  <a:prstClr val="black"/>
                </a:solidFill>
                <a:latin typeface="DM Sans"/>
              </a:rPr>
              <a:t> is to support patients with mindset, emotional regulation, and sustainable habit change ensuring that clinical and lifestyle interventions are psychologically safe, structured, and outcomes-focused. This ensures patients are not simply given advice but are supported through clinically informed behavioural frameworks.</a:t>
            </a:r>
          </a:p>
        </p:txBody>
      </p:sp>
      <p:sp>
        <p:nvSpPr>
          <p:cNvPr id="17" name="Rectangle: Rounded Corners 16">
            <a:extLst>
              <a:ext uri="{FF2B5EF4-FFF2-40B4-BE49-F238E27FC236}">
                <a16:creationId xmlns:a16="http://schemas.microsoft.com/office/drawing/2014/main" id="{F6F4DC55-0BB9-4C60-02C9-595B7EE70F44}"/>
              </a:ext>
            </a:extLst>
          </p:cNvPr>
          <p:cNvSpPr/>
          <p:nvPr/>
        </p:nvSpPr>
        <p:spPr>
          <a:xfrm>
            <a:off x="254000" y="2917681"/>
            <a:ext cx="11542120" cy="1683612"/>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defTabSz="1219170"/>
            <a:r>
              <a:rPr lang="en-GB" sz="1600" b="1" dirty="0">
                <a:solidFill>
                  <a:srgbClr val="199044"/>
                </a:solidFill>
                <a:latin typeface="DM Sans"/>
              </a:rPr>
              <a:t>Our Health Coaches</a:t>
            </a:r>
          </a:p>
          <a:p>
            <a:pPr defTabSz="1219170"/>
            <a:r>
              <a:rPr lang="en-GB" sz="1400" dirty="0">
                <a:solidFill>
                  <a:prstClr val="black"/>
                </a:solidFill>
                <a:latin typeface="DM Sans"/>
              </a:rPr>
              <a:t>Our Health Coaches hold a Level 5 Health Coaching Diploma which is considered the gold standard qualification within the UK health coaching profession and are accredited through recognised bodies such as the Health Coaching Academy. All coaches are trained in structured behaviour change methodology, motivational interviewing, goal-setting frameworks, and accountability models. Many also bring additional qualifications, including degrees in nutrition, exercise science, or full Personal Trainer accreditation. Their role is to translate clinical recommendations into practical, sustainable daily habits that patients can realistically maintain.</a:t>
            </a:r>
          </a:p>
        </p:txBody>
      </p:sp>
      <p:sp>
        <p:nvSpPr>
          <p:cNvPr id="18" name="Rectangle: Rounded Corners 17">
            <a:extLst>
              <a:ext uri="{FF2B5EF4-FFF2-40B4-BE49-F238E27FC236}">
                <a16:creationId xmlns:a16="http://schemas.microsoft.com/office/drawing/2014/main" id="{588FB264-2986-08CF-E562-946834E5075D}"/>
              </a:ext>
            </a:extLst>
          </p:cNvPr>
          <p:cNvSpPr/>
          <p:nvPr/>
        </p:nvSpPr>
        <p:spPr>
          <a:xfrm>
            <a:off x="253999" y="4919983"/>
            <a:ext cx="11536167" cy="1677295"/>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defTabSz="1219170"/>
            <a:r>
              <a:rPr lang="en-GB" sz="1600" b="1" dirty="0">
                <a:solidFill>
                  <a:srgbClr val="199044"/>
                </a:solidFill>
                <a:latin typeface="DM Sans"/>
              </a:rPr>
              <a:t>Our Nutritionists</a:t>
            </a:r>
          </a:p>
          <a:p>
            <a:pPr defTabSz="1219170"/>
            <a:r>
              <a:rPr lang="en-GB" sz="1400" dirty="0">
                <a:solidFill>
                  <a:prstClr val="black"/>
                </a:solidFill>
                <a:latin typeface="DM Sans"/>
              </a:rPr>
              <a:t>Our Nutrition professionals are qualified in evidence-based nutrition science, with many holding degree-level education in Nutrition or related health sciences. They are trained to provide structured dietary guidance aligned to clinical best practice, metabolic health principles, and long-term weight management strategies. Their focus is not on short-term dieting, but on personalised, sustainable nutrition plans that support overall health outcomes, working collaboratively alongside our clinicians and coaches to ensure joined-up care.</a:t>
            </a:r>
          </a:p>
        </p:txBody>
      </p:sp>
    </p:spTree>
    <p:extLst>
      <p:ext uri="{BB962C8B-B14F-4D97-AF65-F5344CB8AC3E}">
        <p14:creationId xmlns:p14="http://schemas.microsoft.com/office/powerpoint/2010/main" val="11030281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p:cNvGrpSpPr/>
        <p:nvPr/>
      </p:nvGrpSpPr>
      <p:grpSpPr>
        <a:xfrm>
          <a:off x="0" y="0"/>
          <a:ext cx="0" cy="0"/>
          <a:chOff x="0" y="0"/>
          <a:chExt cx="0" cy="0"/>
        </a:xfrm>
      </p:grpSpPr>
      <p:sp>
        <p:nvSpPr>
          <p:cNvPr id="2" name="Text 0"/>
          <p:cNvSpPr/>
          <p:nvPr/>
        </p:nvSpPr>
        <p:spPr>
          <a:xfrm>
            <a:off x="242095" y="273845"/>
            <a:ext cx="10960100" cy="368300"/>
          </a:xfrm>
          <a:prstGeom prst="rect">
            <a:avLst/>
          </a:prstGeom>
          <a:noFill/>
          <a:ln/>
        </p:spPr>
        <p:txBody>
          <a:bodyPr wrap="square" rtlCol="0" anchor="ctr"/>
          <a:lstStyle/>
          <a:p>
            <a:pPr defTabSz="1219170">
              <a:lnSpc>
                <a:spcPts val="2880"/>
              </a:lnSpc>
              <a:defRPr/>
            </a:pPr>
            <a:r>
              <a:rPr lang="en-US" sz="2400" b="1" kern="0" spc="-48" dirty="0">
                <a:solidFill>
                  <a:srgbClr val="01240E">
                    <a:alpha val="99000"/>
                  </a:srgbClr>
                </a:solidFill>
                <a:latin typeface="DM Sans" pitchFamily="34" charset="0"/>
                <a:ea typeface="DM Sans" pitchFamily="34" charset="-122"/>
                <a:cs typeface="DM Sans" pitchFamily="34" charset="-120"/>
              </a:rPr>
              <a:t>Virtually UK: Clinically led. NHS aligned. Trusted to deliver.</a:t>
            </a:r>
            <a:endParaRPr lang="en-US" sz="2400" dirty="0">
              <a:solidFill>
                <a:prstClr val="black"/>
              </a:solidFill>
              <a:latin typeface="Calibri" panose="020F0502020204030204"/>
            </a:endParaRPr>
          </a:p>
        </p:txBody>
      </p:sp>
      <p:sp>
        <p:nvSpPr>
          <p:cNvPr id="3" name="Text 1"/>
          <p:cNvSpPr/>
          <p:nvPr/>
        </p:nvSpPr>
        <p:spPr>
          <a:xfrm>
            <a:off x="5480051" y="4406901"/>
            <a:ext cx="1841500" cy="342900"/>
          </a:xfrm>
          <a:prstGeom prst="rect">
            <a:avLst/>
          </a:prstGeom>
          <a:noFill/>
          <a:ln/>
        </p:spPr>
        <p:txBody>
          <a:bodyPr wrap="square" rtlCol="0" anchor="ctr"/>
          <a:lstStyle/>
          <a:p>
            <a:pPr algn="ctr" defTabSz="1219170">
              <a:lnSpc>
                <a:spcPts val="2700"/>
              </a:lnSpc>
              <a:defRPr/>
            </a:pPr>
            <a:r>
              <a:rPr lang="en-US" sz="2000" b="1" kern="0" spc="-40" dirty="0">
                <a:solidFill>
                  <a:srgbClr val="FFFFFF">
                    <a:alpha val="99000"/>
                  </a:srgbClr>
                </a:solidFill>
                <a:latin typeface="DM Sans" pitchFamily="34" charset="0"/>
                <a:ea typeface="DM Sans" pitchFamily="34" charset="-122"/>
                <a:cs typeface="DM Sans" pitchFamily="34" charset="-120"/>
              </a:rPr>
              <a:t>The Result</a:t>
            </a:r>
            <a:endParaRPr lang="en-US" sz="2000" dirty="0">
              <a:solidFill>
                <a:prstClr val="black"/>
              </a:solidFill>
              <a:latin typeface="Calibri" panose="020F0502020204030204"/>
            </a:endParaRPr>
          </a:p>
        </p:txBody>
      </p:sp>
      <p:sp>
        <p:nvSpPr>
          <p:cNvPr id="4" name="Shape 2"/>
          <p:cNvSpPr/>
          <p:nvPr/>
        </p:nvSpPr>
        <p:spPr>
          <a:xfrm>
            <a:off x="363445" y="971948"/>
            <a:ext cx="11470291" cy="4571205"/>
          </a:xfrm>
          <a:prstGeom prst="roundRect">
            <a:avLst>
              <a:gd name="adj" fmla="val 6698"/>
            </a:avLst>
          </a:prstGeom>
          <a:solidFill>
            <a:schemeClr val="bg1"/>
          </a:solidFill>
          <a:ln>
            <a:solidFill>
              <a:schemeClr val="bg2"/>
            </a:solidFill>
          </a:ln>
        </p:spPr>
        <p:txBody>
          <a:bodyPr/>
          <a:lstStyle/>
          <a:p>
            <a:pPr defTabSz="1219170">
              <a:defRPr/>
            </a:pPr>
            <a:endParaRPr lang="en-GB" sz="2400">
              <a:solidFill>
                <a:prstClr val="black"/>
              </a:solidFill>
              <a:latin typeface="Calibri" panose="020F0502020204030204"/>
            </a:endParaRPr>
          </a:p>
        </p:txBody>
      </p:sp>
      <p:sp>
        <p:nvSpPr>
          <p:cNvPr id="5" name="Shape 3"/>
          <p:cNvSpPr/>
          <p:nvPr/>
        </p:nvSpPr>
        <p:spPr>
          <a:xfrm>
            <a:off x="419100" y="1276351"/>
            <a:ext cx="11353800" cy="3962400"/>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6" name="Text 4"/>
          <p:cNvSpPr/>
          <p:nvPr/>
        </p:nvSpPr>
        <p:spPr>
          <a:xfrm>
            <a:off x="579043" y="1270395"/>
            <a:ext cx="11064480" cy="756447"/>
          </a:xfrm>
          <a:prstGeom prst="rect">
            <a:avLst/>
          </a:prstGeom>
          <a:noFill/>
          <a:ln/>
        </p:spPr>
        <p:txBody>
          <a:bodyPr wrap="square" lIns="121920" tIns="60960" rIns="121920" bIns="60960" rtlCol="0" anchor="ctr"/>
          <a:lstStyle/>
          <a:p>
            <a:pPr defTabSz="1219170">
              <a:lnSpc>
                <a:spcPts val="2376"/>
              </a:lnSpc>
              <a:defRPr/>
            </a:pPr>
            <a:r>
              <a:rPr lang="en-US" sz="1900" b="1" kern="0" spc="-36" dirty="0">
                <a:solidFill>
                  <a:srgbClr val="01240E">
                    <a:alpha val="99000"/>
                  </a:srgbClr>
                </a:solidFill>
                <a:latin typeface="DM Sans" pitchFamily="34" charset="0"/>
                <a:ea typeface="DM Sans" pitchFamily="34" charset="-122"/>
                <a:cs typeface="DM Sans" pitchFamily="34" charset="-120"/>
              </a:rPr>
              <a:t>Who we are</a:t>
            </a:r>
            <a:endParaRPr lang="en-US" sz="1900" dirty="0">
              <a:solidFill>
                <a:prstClr val="black"/>
              </a:solidFill>
              <a:latin typeface="Calibri" panose="020F0502020204030204"/>
            </a:endParaRPr>
          </a:p>
          <a:p>
            <a:pPr marL="228594" indent="-228594" defTabSz="1219170">
              <a:lnSpc>
                <a:spcPts val="2376"/>
              </a:lnSpc>
              <a:buFont typeface="Arial"/>
              <a:buChar char="•"/>
              <a:defRPr/>
            </a:pPr>
            <a:r>
              <a:rPr lang="en-GB" sz="1400" kern="0" spc="-36" dirty="0">
                <a:solidFill>
                  <a:srgbClr val="01240E">
                    <a:alpha val="99000"/>
                  </a:srgbClr>
                </a:solidFill>
                <a:latin typeface="DM Sans"/>
                <a:ea typeface="DM Sans" pitchFamily="34" charset="-122"/>
                <a:cs typeface="DM Sans" pitchFamily="34" charset="-120"/>
              </a:rPr>
              <a:t>Virtually UK is a provider of clinical services and develops NHS accredited digital solutions</a:t>
            </a:r>
            <a:r>
              <a:rPr lang="en-US" sz="1400" kern="0" spc="-36" dirty="0">
                <a:solidFill>
                  <a:srgbClr val="01240E">
                    <a:alpha val="99000"/>
                  </a:srgbClr>
                </a:solidFill>
                <a:latin typeface="DM Sans"/>
                <a:ea typeface="DM Sans" pitchFamily="34" charset="-122"/>
                <a:cs typeface="DM Sans" pitchFamily="34" charset="-120"/>
              </a:rPr>
              <a:t>.</a:t>
            </a:r>
          </a:p>
          <a:p>
            <a:pPr marL="228594" indent="-228594" defTabSz="1219170">
              <a:lnSpc>
                <a:spcPts val="2376"/>
              </a:lnSpc>
              <a:buFont typeface="Arial"/>
              <a:buChar char="•"/>
              <a:defRPr/>
            </a:pPr>
            <a:r>
              <a:rPr lang="en-US" sz="1400" kern="0" spc="-36" dirty="0">
                <a:solidFill>
                  <a:srgbClr val="01240E">
                    <a:alpha val="99000"/>
                  </a:srgbClr>
                </a:solidFill>
                <a:latin typeface="DM Sans"/>
                <a:ea typeface="Calibri" panose="020F0502020204030204"/>
                <a:cs typeface="Calibri" panose="020F0502020204030204"/>
              </a:rPr>
              <a:t>200+ employees </a:t>
            </a:r>
            <a:endParaRPr lang="en-US" sz="1900" dirty="0">
              <a:solidFill>
                <a:prstClr val="black"/>
              </a:solidFill>
              <a:latin typeface="DM Sans"/>
              <a:ea typeface="Calibri" panose="020F0502020204030204"/>
              <a:cs typeface="Calibri" panose="020F0502020204030204"/>
            </a:endParaRPr>
          </a:p>
        </p:txBody>
      </p:sp>
      <p:sp>
        <p:nvSpPr>
          <p:cNvPr id="7" name="Text 5"/>
          <p:cNvSpPr/>
          <p:nvPr/>
        </p:nvSpPr>
        <p:spPr>
          <a:xfrm>
            <a:off x="557563" y="2407840"/>
            <a:ext cx="11963400" cy="641349"/>
          </a:xfrm>
          <a:prstGeom prst="rect">
            <a:avLst/>
          </a:prstGeom>
          <a:noFill/>
          <a:ln/>
        </p:spPr>
        <p:txBody>
          <a:bodyPr wrap="square" lIns="121920" tIns="60960" rIns="121920" bIns="60960" rtlCol="0" anchor="ctr"/>
          <a:lstStyle/>
          <a:p>
            <a:pPr defTabSz="1219170">
              <a:lnSpc>
                <a:spcPts val="2376"/>
              </a:lnSpc>
              <a:defRPr/>
            </a:pPr>
            <a:r>
              <a:rPr lang="en-US" sz="1900" b="1" kern="0" spc="-36" dirty="0">
                <a:solidFill>
                  <a:srgbClr val="01240E">
                    <a:alpha val="99000"/>
                  </a:srgbClr>
                </a:solidFill>
                <a:latin typeface="DM Sans" pitchFamily="34" charset="0"/>
                <a:ea typeface="DM Sans" pitchFamily="34" charset="-122"/>
                <a:cs typeface="DM Sans" pitchFamily="34" charset="-120"/>
              </a:rPr>
              <a:t>Clinically grounded</a:t>
            </a:r>
            <a:endParaRPr lang="en-US" sz="1900" dirty="0">
              <a:solidFill>
                <a:prstClr val="black"/>
              </a:solidFill>
              <a:latin typeface="Calibri" panose="020F0502020204030204"/>
            </a:endParaRPr>
          </a:p>
          <a:p>
            <a:pPr marL="228594" indent="-228594" defTabSz="1219170">
              <a:lnSpc>
                <a:spcPts val="2376"/>
              </a:lnSpc>
              <a:buSzPct val="100000"/>
              <a:buFont typeface="Arial"/>
              <a:buChar char="•"/>
              <a:defRPr/>
            </a:pPr>
            <a:r>
              <a:rPr lang="en-US" sz="1400" kern="0" spc="-36" dirty="0">
                <a:solidFill>
                  <a:srgbClr val="01240E">
                    <a:alpha val="99000"/>
                  </a:srgbClr>
                </a:solidFill>
                <a:latin typeface="DM Sans"/>
                <a:ea typeface="DM Sans" pitchFamily="34" charset="-122"/>
                <a:cs typeface="DM Sans" pitchFamily="34" charset="-120"/>
              </a:rPr>
              <a:t>We are established as a clinically led partnership with a proven track record of delivering NHS and private care</a:t>
            </a:r>
            <a:endParaRPr lang="en-US" sz="1900" dirty="0">
              <a:solidFill>
                <a:prstClr val="black"/>
              </a:solidFill>
              <a:latin typeface="DM Sans"/>
              <a:ea typeface="Calibri" panose="020F0502020204030204"/>
              <a:cs typeface="Calibri" panose="020F0502020204030204"/>
            </a:endParaRPr>
          </a:p>
          <a:p>
            <a:pPr marL="228594" indent="-228594" defTabSz="1219170">
              <a:lnSpc>
                <a:spcPts val="2376"/>
              </a:lnSpc>
              <a:buSzPct val="100000"/>
              <a:buFont typeface="Arial"/>
              <a:buChar char="•"/>
              <a:defRPr/>
            </a:pPr>
            <a:r>
              <a:rPr lang="en-US" sz="1400" kern="0" spc="-36" dirty="0">
                <a:solidFill>
                  <a:srgbClr val="01240E">
                    <a:alpha val="99000"/>
                  </a:srgbClr>
                </a:solidFill>
                <a:latin typeface="DM Sans" pitchFamily="34" charset="0"/>
                <a:ea typeface="DM Sans" pitchFamily="34" charset="-122"/>
                <a:cs typeface="DM Sans" pitchFamily="34" charset="-120"/>
              </a:rPr>
              <a:t>We build digital solutions designed with and for clinicians that integrate with NHS systems</a:t>
            </a:r>
            <a:endParaRPr lang="en-US" sz="1900" dirty="0">
              <a:solidFill>
                <a:prstClr val="black"/>
              </a:solidFill>
              <a:latin typeface="Calibri" panose="020F0502020204030204"/>
              <a:ea typeface="Calibri" panose="020F0502020204030204"/>
              <a:cs typeface="Calibri" panose="020F0502020204030204"/>
            </a:endParaRPr>
          </a:p>
        </p:txBody>
      </p:sp>
      <p:sp>
        <p:nvSpPr>
          <p:cNvPr id="8" name="Text 6"/>
          <p:cNvSpPr/>
          <p:nvPr/>
        </p:nvSpPr>
        <p:spPr>
          <a:xfrm>
            <a:off x="506321" y="3430191"/>
            <a:ext cx="11963400" cy="641349"/>
          </a:xfrm>
          <a:prstGeom prst="rect">
            <a:avLst/>
          </a:prstGeom>
          <a:noFill/>
          <a:ln/>
        </p:spPr>
        <p:txBody>
          <a:bodyPr wrap="square" lIns="121920" tIns="60960" rIns="121920" bIns="60960" rtlCol="0" anchor="ctr"/>
          <a:lstStyle/>
          <a:p>
            <a:pPr defTabSz="1219170">
              <a:lnSpc>
                <a:spcPts val="2376"/>
              </a:lnSpc>
              <a:defRPr/>
            </a:pPr>
            <a:r>
              <a:rPr lang="en-US" sz="1900" b="1" kern="0" spc="-36" dirty="0">
                <a:solidFill>
                  <a:srgbClr val="01240E">
                    <a:alpha val="99000"/>
                  </a:srgbClr>
                </a:solidFill>
                <a:latin typeface="DM Sans" pitchFamily="34" charset="0"/>
                <a:ea typeface="DM Sans" pitchFamily="34" charset="-122"/>
                <a:cs typeface="DM Sans" pitchFamily="34" charset="-120"/>
              </a:rPr>
              <a:t>NHS-approved digital solutions</a:t>
            </a:r>
            <a:endParaRPr lang="en-US" sz="1900" dirty="0">
              <a:solidFill>
                <a:prstClr val="black"/>
              </a:solidFill>
              <a:latin typeface="Calibri" panose="020F0502020204030204"/>
            </a:endParaRPr>
          </a:p>
          <a:p>
            <a:pPr marL="228594" indent="-228594" defTabSz="1219170">
              <a:lnSpc>
                <a:spcPts val="2376"/>
              </a:lnSpc>
              <a:buSzPct val="100000"/>
              <a:buFont typeface="Arial"/>
              <a:buChar char="•"/>
              <a:defRPr/>
            </a:pPr>
            <a:r>
              <a:rPr lang="en-US" sz="1400" kern="0" spc="-36" dirty="0">
                <a:solidFill>
                  <a:srgbClr val="01240E">
                    <a:alpha val="99000"/>
                  </a:srgbClr>
                </a:solidFill>
                <a:latin typeface="DM Sans"/>
                <a:ea typeface="DM Sans" pitchFamily="34" charset="-122"/>
                <a:cs typeface="DM Sans" pitchFamily="34" charset="-120"/>
              </a:rPr>
              <a:t>We are established as a clinically led partnership with a proven track record of delivering NHS and private care</a:t>
            </a:r>
            <a:endParaRPr lang="en-US" sz="1900" dirty="0">
              <a:solidFill>
                <a:prstClr val="black"/>
              </a:solidFill>
              <a:latin typeface="DM Sans"/>
              <a:ea typeface="Calibri" panose="020F0502020204030204"/>
              <a:cs typeface="Calibri" panose="020F0502020204030204"/>
            </a:endParaRPr>
          </a:p>
          <a:p>
            <a:pPr marL="228594" indent="-228594" defTabSz="1219170">
              <a:lnSpc>
                <a:spcPts val="2376"/>
              </a:lnSpc>
              <a:buSzPct val="100000"/>
              <a:buFont typeface="Arial"/>
              <a:buChar char="•"/>
              <a:defRPr/>
            </a:pPr>
            <a:r>
              <a:rPr lang="en-US" sz="1400" kern="0" spc="-36" dirty="0">
                <a:solidFill>
                  <a:srgbClr val="01240E">
                    <a:alpha val="99000"/>
                  </a:srgbClr>
                </a:solidFill>
                <a:latin typeface="DM Sans" pitchFamily="34" charset="0"/>
                <a:ea typeface="DM Sans" pitchFamily="34" charset="-122"/>
                <a:cs typeface="DM Sans" pitchFamily="34" charset="-120"/>
              </a:rPr>
              <a:t>We build digital solutions designed with and for clinicians that integrate with NHS systems</a:t>
            </a:r>
            <a:endParaRPr lang="en-US" sz="1900" dirty="0">
              <a:solidFill>
                <a:prstClr val="black"/>
              </a:solidFill>
              <a:latin typeface="Calibri" panose="020F0502020204030204"/>
              <a:ea typeface="Calibri" panose="020F0502020204030204"/>
              <a:cs typeface="Calibri" panose="020F0502020204030204"/>
            </a:endParaRPr>
          </a:p>
        </p:txBody>
      </p:sp>
      <p:sp>
        <p:nvSpPr>
          <p:cNvPr id="9" name="Text 7"/>
          <p:cNvSpPr/>
          <p:nvPr/>
        </p:nvSpPr>
        <p:spPr>
          <a:xfrm>
            <a:off x="506321" y="4452541"/>
            <a:ext cx="11963400" cy="768351"/>
          </a:xfrm>
          <a:prstGeom prst="rect">
            <a:avLst/>
          </a:prstGeom>
          <a:noFill/>
          <a:ln/>
        </p:spPr>
        <p:txBody>
          <a:bodyPr wrap="square" lIns="121920" tIns="60960" rIns="121920" bIns="60960" rtlCol="0" anchor="ctr"/>
          <a:lstStyle/>
          <a:p>
            <a:pPr defTabSz="1219170">
              <a:lnSpc>
                <a:spcPts val="2376"/>
              </a:lnSpc>
              <a:defRPr/>
            </a:pPr>
            <a:r>
              <a:rPr lang="en-US" sz="1900" b="1" kern="0" spc="-36" dirty="0">
                <a:solidFill>
                  <a:srgbClr val="01240E">
                    <a:alpha val="99000"/>
                  </a:srgbClr>
                </a:solidFill>
                <a:latin typeface="DM Sans" pitchFamily="34" charset="0"/>
                <a:ea typeface="DM Sans" pitchFamily="34" charset="-122"/>
                <a:cs typeface="DM Sans" pitchFamily="34" charset="-120"/>
              </a:rPr>
              <a:t>Supporting integrated clinical care</a:t>
            </a:r>
            <a:endParaRPr lang="en-US" sz="1900" dirty="0">
              <a:solidFill>
                <a:prstClr val="black"/>
              </a:solidFill>
              <a:latin typeface="Calibri" panose="020F0502020204030204"/>
            </a:endParaRPr>
          </a:p>
          <a:p>
            <a:pPr marL="228594" indent="-228594" defTabSz="1219170">
              <a:lnSpc>
                <a:spcPts val="2376"/>
              </a:lnSpc>
              <a:buSzPct val="100000"/>
              <a:buFont typeface="Arial"/>
              <a:buChar char="•"/>
              <a:defRPr/>
            </a:pPr>
            <a:r>
              <a:rPr lang="en-US" sz="1400" kern="0" spc="-36" dirty="0">
                <a:solidFill>
                  <a:srgbClr val="01240E">
                    <a:alpha val="99000"/>
                  </a:srgbClr>
                </a:solidFill>
                <a:latin typeface="DM Sans"/>
                <a:ea typeface="DM Sans" pitchFamily="34" charset="-122"/>
                <a:cs typeface="DM Sans" pitchFamily="34" charset="-120"/>
              </a:rPr>
              <a:t>Our solutions enable HCPs to collaborate in multi-disciplinary care teams that </a:t>
            </a:r>
            <a:r>
              <a:rPr lang="en-US" sz="1400" kern="0" spc="-36" dirty="0" err="1">
                <a:solidFill>
                  <a:srgbClr val="01240E">
                    <a:alpha val="99000"/>
                  </a:srgbClr>
                </a:solidFill>
                <a:latin typeface="DM Sans"/>
                <a:ea typeface="DM Sans" pitchFamily="34" charset="-122"/>
                <a:cs typeface="DM Sans" pitchFamily="34" charset="-120"/>
              </a:rPr>
              <a:t>centre</a:t>
            </a:r>
            <a:r>
              <a:rPr lang="en-US" sz="1400" kern="0" spc="-36" dirty="0">
                <a:solidFill>
                  <a:srgbClr val="01240E">
                    <a:alpha val="99000"/>
                  </a:srgbClr>
                </a:solidFill>
                <a:latin typeface="DM Sans"/>
                <a:ea typeface="DM Sans" pitchFamily="34" charset="-122"/>
                <a:cs typeface="DM Sans" pitchFamily="34" charset="-120"/>
              </a:rPr>
              <a:t> on the patient </a:t>
            </a:r>
            <a:endParaRPr lang="en-US" sz="1900" dirty="0">
              <a:solidFill>
                <a:prstClr val="black"/>
              </a:solidFill>
              <a:latin typeface="DM Sans"/>
              <a:ea typeface="Calibri" panose="020F0502020204030204"/>
              <a:cs typeface="Calibri" panose="020F0502020204030204"/>
            </a:endParaRPr>
          </a:p>
          <a:p>
            <a:pPr marL="228594" indent="-228594" defTabSz="1219170">
              <a:lnSpc>
                <a:spcPts val="2376"/>
              </a:lnSpc>
              <a:buSzPct val="100000"/>
              <a:buFont typeface="Arial"/>
              <a:buChar char="•"/>
              <a:defRPr/>
            </a:pPr>
            <a:r>
              <a:rPr lang="en-US" sz="1400" kern="0" spc="-36" dirty="0">
                <a:solidFill>
                  <a:srgbClr val="01240E">
                    <a:alpha val="99000"/>
                  </a:srgbClr>
                </a:solidFill>
                <a:latin typeface="DM Sans"/>
                <a:ea typeface="DM Sans" pitchFamily="34" charset="-122"/>
                <a:cs typeface="DM Sans" pitchFamily="34" charset="-120"/>
              </a:rPr>
              <a:t>We are backed by clinical and digital enablement, governance and technical expertise from our clinician and software teams</a:t>
            </a:r>
            <a:endParaRPr lang="en-US" sz="1900" dirty="0">
              <a:solidFill>
                <a:prstClr val="black"/>
              </a:solidFill>
              <a:latin typeface="DM Sans"/>
              <a:ea typeface="Calibri" panose="020F0502020204030204"/>
              <a:cs typeface="Calibri" panose="020F0502020204030204"/>
            </a:endParaRPr>
          </a:p>
        </p:txBody>
      </p:sp>
      <p:sp>
        <p:nvSpPr>
          <p:cNvPr id="10" name="Text 8"/>
          <p:cNvSpPr/>
          <p:nvPr/>
        </p:nvSpPr>
        <p:spPr>
          <a:xfrm>
            <a:off x="242095" y="5884467"/>
            <a:ext cx="10369547" cy="633412"/>
          </a:xfrm>
          <a:prstGeom prst="rect">
            <a:avLst/>
          </a:prstGeom>
          <a:noFill/>
          <a:ln/>
        </p:spPr>
        <p:txBody>
          <a:bodyPr wrap="square" lIns="121920" tIns="60960" rIns="121920" bIns="60960" rtlCol="0" anchor="ctr"/>
          <a:lstStyle/>
          <a:p>
            <a:pPr defTabSz="1219170">
              <a:lnSpc>
                <a:spcPts val="2376"/>
              </a:lnSpc>
              <a:defRPr/>
            </a:pPr>
            <a:r>
              <a:rPr lang="en-US" b="1" kern="0" spc="-36" dirty="0">
                <a:solidFill>
                  <a:srgbClr val="16A34A">
                    <a:alpha val="99000"/>
                  </a:srgbClr>
                </a:solidFill>
                <a:latin typeface="DM Sans"/>
                <a:ea typeface="DM Sans" pitchFamily="34" charset="-122"/>
                <a:cs typeface="DM Sans" pitchFamily="34" charset="-120"/>
              </a:rPr>
              <a:t>You can confidently partner with Virtually UK as your trusted clinical partner, providing governance, integration and support to deliver proactive care beyond your pharmacy counter</a:t>
            </a:r>
            <a:endParaRPr lang="en-US" dirty="0">
              <a:solidFill>
                <a:prstClr val="black"/>
              </a:solidFill>
              <a:latin typeface="DM Sans"/>
            </a:endParaRPr>
          </a:p>
        </p:txBody>
      </p:sp>
      <p:pic>
        <p:nvPicPr>
          <p:cNvPr id="11" name="Image 0" descr="preencoded.png"/>
          <p:cNvPicPr>
            <a:picLocks noChangeAspect="1"/>
          </p:cNvPicPr>
          <p:nvPr/>
        </p:nvPicPr>
        <p:blipFill>
          <a:blip r:embed="rId3"/>
          <a:stretch>
            <a:fillRect/>
          </a:stretch>
        </p:blipFill>
        <p:spPr>
          <a:xfrm>
            <a:off x="10694399" y="5860819"/>
            <a:ext cx="1257399" cy="6604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BFAF9"/>
        </a:solidFill>
        <a:effectLst/>
      </p:bgPr>
    </p:bg>
    <p:spTree>
      <p:nvGrpSpPr>
        <p:cNvPr id="1" name="">
          <a:extLst>
            <a:ext uri="{FF2B5EF4-FFF2-40B4-BE49-F238E27FC236}">
              <a16:creationId xmlns:a16="http://schemas.microsoft.com/office/drawing/2014/main" id="{546C4BB7-80C2-B9AC-FEDC-B47D41723899}"/>
            </a:ext>
          </a:extLst>
        </p:cNvPr>
        <p:cNvGrpSpPr/>
        <p:nvPr/>
      </p:nvGrpSpPr>
      <p:grpSpPr>
        <a:xfrm>
          <a:off x="0" y="0"/>
          <a:ext cx="0" cy="0"/>
          <a:chOff x="0" y="0"/>
          <a:chExt cx="0" cy="0"/>
        </a:xfrm>
      </p:grpSpPr>
      <p:sp>
        <p:nvSpPr>
          <p:cNvPr id="2" name="Text 0">
            <a:extLst>
              <a:ext uri="{FF2B5EF4-FFF2-40B4-BE49-F238E27FC236}">
                <a16:creationId xmlns:a16="http://schemas.microsoft.com/office/drawing/2014/main" id="{9F0EA69C-1176-E742-F43A-EEC6BEF75785}"/>
              </a:ext>
            </a:extLst>
          </p:cNvPr>
          <p:cNvSpPr/>
          <p:nvPr/>
        </p:nvSpPr>
        <p:spPr>
          <a:xfrm>
            <a:off x="242095" y="273845"/>
            <a:ext cx="10960100" cy="368300"/>
          </a:xfrm>
          <a:prstGeom prst="rect">
            <a:avLst/>
          </a:prstGeom>
          <a:noFill/>
          <a:ln/>
        </p:spPr>
        <p:txBody>
          <a:bodyPr wrap="square" rtlCol="0" anchor="ctr"/>
          <a:lstStyle/>
          <a:p>
            <a:pPr defTabSz="1219170">
              <a:lnSpc>
                <a:spcPts val="2880"/>
              </a:lnSpc>
              <a:defRPr/>
            </a:pPr>
            <a:r>
              <a:rPr lang="en-US" sz="2400" b="1" kern="0" spc="-48" dirty="0">
                <a:solidFill>
                  <a:srgbClr val="01240E">
                    <a:alpha val="99000"/>
                  </a:srgbClr>
                </a:solidFill>
                <a:latin typeface="DM Sans" pitchFamily="34" charset="0"/>
                <a:ea typeface="DM Sans" pitchFamily="34" charset="-122"/>
                <a:cs typeface="DM Sans" pitchFamily="34" charset="-120"/>
              </a:rPr>
              <a:t>What is Virty?</a:t>
            </a:r>
            <a:endParaRPr lang="en-US" sz="2400" dirty="0">
              <a:solidFill>
                <a:prstClr val="black"/>
              </a:solidFill>
              <a:latin typeface="Calibri" panose="020F0502020204030204"/>
            </a:endParaRPr>
          </a:p>
        </p:txBody>
      </p:sp>
      <p:sp>
        <p:nvSpPr>
          <p:cNvPr id="3" name="Text 1">
            <a:extLst>
              <a:ext uri="{FF2B5EF4-FFF2-40B4-BE49-F238E27FC236}">
                <a16:creationId xmlns:a16="http://schemas.microsoft.com/office/drawing/2014/main" id="{751C8261-F78D-CFA2-0DB6-31F1904027C1}"/>
              </a:ext>
            </a:extLst>
          </p:cNvPr>
          <p:cNvSpPr/>
          <p:nvPr/>
        </p:nvSpPr>
        <p:spPr>
          <a:xfrm>
            <a:off x="5480051" y="4406901"/>
            <a:ext cx="1841500" cy="342900"/>
          </a:xfrm>
          <a:prstGeom prst="rect">
            <a:avLst/>
          </a:prstGeom>
          <a:noFill/>
          <a:ln/>
        </p:spPr>
        <p:txBody>
          <a:bodyPr wrap="square" rtlCol="0" anchor="ctr"/>
          <a:lstStyle/>
          <a:p>
            <a:pPr algn="ctr" defTabSz="1219170">
              <a:lnSpc>
                <a:spcPts val="2700"/>
              </a:lnSpc>
              <a:defRPr/>
            </a:pPr>
            <a:r>
              <a:rPr lang="en-US" sz="2000" b="1" kern="0" spc="-40" dirty="0">
                <a:solidFill>
                  <a:srgbClr val="FFFFFF">
                    <a:alpha val="99000"/>
                  </a:srgbClr>
                </a:solidFill>
                <a:latin typeface="DM Sans" pitchFamily="34" charset="0"/>
                <a:ea typeface="DM Sans" pitchFamily="34" charset="-122"/>
                <a:cs typeface="DM Sans" pitchFamily="34" charset="-120"/>
              </a:rPr>
              <a:t>The Result</a:t>
            </a:r>
            <a:endParaRPr lang="en-US" sz="2000" dirty="0">
              <a:solidFill>
                <a:prstClr val="black"/>
              </a:solidFill>
              <a:latin typeface="Calibri" panose="020F0502020204030204"/>
            </a:endParaRPr>
          </a:p>
        </p:txBody>
      </p:sp>
      <p:sp>
        <p:nvSpPr>
          <p:cNvPr id="4" name="Shape 2">
            <a:extLst>
              <a:ext uri="{FF2B5EF4-FFF2-40B4-BE49-F238E27FC236}">
                <a16:creationId xmlns:a16="http://schemas.microsoft.com/office/drawing/2014/main" id="{0DE50B0B-F154-0E97-119D-58FF0DEF7826}"/>
              </a:ext>
            </a:extLst>
          </p:cNvPr>
          <p:cNvSpPr/>
          <p:nvPr/>
        </p:nvSpPr>
        <p:spPr>
          <a:xfrm>
            <a:off x="419100" y="1424840"/>
            <a:ext cx="6364037" cy="4571205"/>
          </a:xfrm>
          <a:prstGeom prst="roundRect">
            <a:avLst>
              <a:gd name="adj" fmla="val 6698"/>
            </a:avLst>
          </a:prstGeom>
          <a:solidFill>
            <a:schemeClr val="bg1"/>
          </a:solidFill>
          <a:ln>
            <a:solidFill>
              <a:schemeClr val="bg2"/>
            </a:solidFill>
          </a:ln>
        </p:spPr>
        <p:txBody>
          <a:bodyPr/>
          <a:lstStyle/>
          <a:p>
            <a:pPr defTabSz="1219170">
              <a:defRPr/>
            </a:pPr>
            <a:endParaRPr lang="en-GB" sz="2400">
              <a:solidFill>
                <a:prstClr val="black"/>
              </a:solidFill>
              <a:latin typeface="Calibri" panose="020F0502020204030204"/>
            </a:endParaRPr>
          </a:p>
        </p:txBody>
      </p:sp>
      <p:sp>
        <p:nvSpPr>
          <p:cNvPr id="5" name="Shape 3">
            <a:extLst>
              <a:ext uri="{FF2B5EF4-FFF2-40B4-BE49-F238E27FC236}">
                <a16:creationId xmlns:a16="http://schemas.microsoft.com/office/drawing/2014/main" id="{6A92D956-46DE-5B18-4F10-DA9D917373B6}"/>
              </a:ext>
            </a:extLst>
          </p:cNvPr>
          <p:cNvSpPr/>
          <p:nvPr/>
        </p:nvSpPr>
        <p:spPr>
          <a:xfrm>
            <a:off x="419100" y="1276351"/>
            <a:ext cx="11353800" cy="3962400"/>
          </a:xfrm>
          <a:prstGeom prst="rect">
            <a:avLst/>
          </a:prstGeom>
          <a:noFill/>
          <a:ln/>
        </p:spPr>
        <p:txBody>
          <a:bodyPr/>
          <a:lstStyle/>
          <a:p>
            <a:pPr defTabSz="1219170">
              <a:defRPr/>
            </a:pPr>
            <a:endParaRPr lang="en-GB" sz="2400">
              <a:solidFill>
                <a:prstClr val="black"/>
              </a:solidFill>
              <a:latin typeface="Calibri" panose="020F0502020204030204"/>
            </a:endParaRPr>
          </a:p>
        </p:txBody>
      </p:sp>
      <p:pic>
        <p:nvPicPr>
          <p:cNvPr id="13" name="Picture 12" descr="The image depicts a green shield with a heart-shaped emblem and a countdown timer inside it.&#10;&#10;AI-generated content may be incorrect.">
            <a:extLst>
              <a:ext uri="{FF2B5EF4-FFF2-40B4-BE49-F238E27FC236}">
                <a16:creationId xmlns:a16="http://schemas.microsoft.com/office/drawing/2014/main" id="{BF4B996B-183B-966C-00D6-9A4E2B6570B9}"/>
              </a:ext>
            </a:extLst>
          </p:cNvPr>
          <p:cNvPicPr>
            <a:picLocks noChangeAspect="1"/>
          </p:cNvPicPr>
          <p:nvPr/>
        </p:nvPicPr>
        <p:blipFill>
          <a:blip r:embed="rId3"/>
          <a:stretch>
            <a:fillRect/>
          </a:stretch>
        </p:blipFill>
        <p:spPr>
          <a:xfrm>
            <a:off x="134403" y="1056364"/>
            <a:ext cx="1163717" cy="1125771"/>
          </a:xfrm>
          <a:prstGeom prst="rect">
            <a:avLst/>
          </a:prstGeom>
        </p:spPr>
      </p:pic>
      <p:sp>
        <p:nvSpPr>
          <p:cNvPr id="14" name="Text 6">
            <a:extLst>
              <a:ext uri="{FF2B5EF4-FFF2-40B4-BE49-F238E27FC236}">
                <a16:creationId xmlns:a16="http://schemas.microsoft.com/office/drawing/2014/main" id="{8523586D-B62F-4FF7-E77A-A1EE0DD5423E}"/>
              </a:ext>
            </a:extLst>
          </p:cNvPr>
          <p:cNvSpPr/>
          <p:nvPr/>
        </p:nvSpPr>
        <p:spPr>
          <a:xfrm>
            <a:off x="1028702" y="3062969"/>
            <a:ext cx="5258593" cy="2052240"/>
          </a:xfrm>
          <a:prstGeom prst="rect">
            <a:avLst/>
          </a:prstGeom>
          <a:noFill/>
          <a:ln/>
        </p:spPr>
        <p:txBody>
          <a:bodyPr wrap="square" lIns="121920" tIns="60960" rIns="121920" bIns="60960" rtlCol="0" anchor="ctr"/>
          <a:lstStyle/>
          <a:p>
            <a:pPr marL="228594" indent="-228594" defTabSz="1219170">
              <a:lnSpc>
                <a:spcPts val="1848"/>
              </a:lnSpc>
              <a:buClr>
                <a:srgbClr val="000000"/>
              </a:buClr>
              <a:buFont typeface="Arial" panose="020B0604020202020204" pitchFamily="34" charset="0"/>
              <a:buChar char="•"/>
              <a:defRPr/>
            </a:pPr>
            <a:r>
              <a:rPr lang="en-US" sz="1400" kern="0" spc="-28" dirty="0">
                <a:solidFill>
                  <a:srgbClr val="01240E">
                    <a:alpha val="99000"/>
                  </a:srgbClr>
                </a:solidFill>
                <a:latin typeface="DM Sans"/>
                <a:ea typeface="DM Sans" pitchFamily="34" charset="-122"/>
                <a:cs typeface="DM Sans" pitchFamily="34" charset="-120"/>
                <a:sym typeface="Arial"/>
              </a:rPr>
              <a:t>A 24/7 doctor-led digital health service for continuous monitoring, proactive intervention and lifestyle support.</a:t>
            </a:r>
          </a:p>
          <a:p>
            <a:pPr marL="228594" indent="-228594" defTabSz="1219170">
              <a:lnSpc>
                <a:spcPts val="1848"/>
              </a:lnSpc>
              <a:buClr>
                <a:srgbClr val="000000"/>
              </a:buClr>
              <a:buFont typeface="Arial" panose="020B0604020202020204" pitchFamily="34" charset="0"/>
              <a:buChar char="•"/>
              <a:defRPr/>
            </a:pPr>
            <a:endParaRPr lang="en-US" sz="1400" kern="0" spc="-28" dirty="0">
              <a:solidFill>
                <a:srgbClr val="01240E">
                  <a:alpha val="99000"/>
                </a:srgbClr>
              </a:solidFill>
              <a:latin typeface="DM Sans"/>
              <a:ea typeface="DM Sans" pitchFamily="34" charset="-122"/>
              <a:cs typeface="DM Sans" pitchFamily="34" charset="-120"/>
              <a:sym typeface="Arial"/>
            </a:endParaRPr>
          </a:p>
          <a:p>
            <a:pPr marL="228594" indent="-228594" defTabSz="1219170">
              <a:lnSpc>
                <a:spcPts val="1848"/>
              </a:lnSpc>
              <a:buClr>
                <a:srgbClr val="000000"/>
              </a:buClr>
              <a:buFont typeface="Arial" panose="020B0604020202020204" pitchFamily="34" charset="0"/>
              <a:buChar char="•"/>
              <a:defRPr/>
            </a:pPr>
            <a:r>
              <a:rPr lang="en-US" sz="1400" dirty="0">
                <a:solidFill>
                  <a:prstClr val="black"/>
                </a:solidFill>
                <a:latin typeface="DM Sans" pitchFamily="2" charset="0"/>
              </a:rPr>
              <a:t>Virty is a clinically-governed platform that enables pharmacies to deliver and scale private clinical services safely and sustainably</a:t>
            </a:r>
            <a:endParaRPr lang="en-US" sz="1400" kern="0" spc="-28" dirty="0">
              <a:solidFill>
                <a:srgbClr val="01240E">
                  <a:alpha val="99000"/>
                </a:srgbClr>
              </a:solidFill>
              <a:latin typeface="DM Sans" pitchFamily="2" charset="0"/>
              <a:ea typeface="DM Sans" pitchFamily="34" charset="-122"/>
              <a:cs typeface="DM Sans" pitchFamily="34" charset="-120"/>
              <a:sym typeface="Arial"/>
            </a:endParaRPr>
          </a:p>
          <a:p>
            <a:pPr defTabSz="1219170">
              <a:lnSpc>
                <a:spcPts val="1848"/>
              </a:lnSpc>
              <a:buClr>
                <a:srgbClr val="000000"/>
              </a:buClr>
              <a:defRPr/>
            </a:pPr>
            <a:endParaRPr lang="en-US" sz="1400" kern="0" dirty="0">
              <a:solidFill>
                <a:srgbClr val="000000"/>
              </a:solidFill>
              <a:latin typeface="Arial"/>
              <a:cs typeface="Arial"/>
              <a:sym typeface="Arial"/>
            </a:endParaRPr>
          </a:p>
          <a:p>
            <a:pPr marL="228594" indent="-228594" defTabSz="1219170">
              <a:lnSpc>
                <a:spcPts val="1848"/>
              </a:lnSpc>
              <a:buClr>
                <a:srgbClr val="000000"/>
              </a:buClr>
              <a:buSzPct val="100000"/>
              <a:buFont typeface="Arial"/>
              <a:buChar char="•"/>
              <a:defRPr/>
            </a:pPr>
            <a:r>
              <a:rPr lang="en-US" sz="1400" kern="0" spc="-28" dirty="0">
                <a:solidFill>
                  <a:srgbClr val="01240E">
                    <a:alpha val="99000"/>
                  </a:srgbClr>
                </a:solidFill>
                <a:latin typeface="DM Sans" pitchFamily="34" charset="0"/>
                <a:ea typeface="DM Sans" pitchFamily="34" charset="-122"/>
                <a:cs typeface="DM Sans" pitchFamily="34" charset="-120"/>
                <a:sym typeface="Arial"/>
              </a:rPr>
              <a:t>We offer subscription plans that support patient across </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weight management, mental wellbeing and several </a:t>
            </a:r>
          </a:p>
          <a:p>
            <a:pPr defTabSz="1219170">
              <a:lnSpc>
                <a:spcPts val="1848"/>
              </a:lnSpc>
              <a:buClr>
                <a:srgbClr val="000000"/>
              </a:buClr>
              <a:buSzPct val="100000"/>
              <a:defRPr/>
            </a:pPr>
            <a:r>
              <a:rPr lang="en-US" sz="1400" kern="0" spc="-28" dirty="0">
                <a:solidFill>
                  <a:srgbClr val="01240E">
                    <a:alpha val="99000"/>
                  </a:srgbClr>
                </a:solidFill>
                <a:latin typeface="DM Sans"/>
                <a:ea typeface="DM Sans" pitchFamily="34" charset="-122"/>
                <a:cs typeface="DM Sans" pitchFamily="34" charset="-120"/>
                <a:sym typeface="Arial"/>
              </a:rPr>
              <a:t>      Long-Term Conditions</a:t>
            </a:r>
          </a:p>
          <a:p>
            <a:pPr defTabSz="1219170">
              <a:lnSpc>
                <a:spcPts val="1848"/>
              </a:lnSpc>
              <a:buClr>
                <a:srgbClr val="000000"/>
              </a:buClr>
              <a:buSzPct val="100000"/>
              <a:defRPr/>
            </a:pPr>
            <a:endParaRPr lang="en-US" sz="1400" kern="0" spc="-28" dirty="0">
              <a:solidFill>
                <a:srgbClr val="01240E">
                  <a:alpha val="99000"/>
                </a:srgbClr>
              </a:solidFill>
              <a:latin typeface="DM Sans"/>
              <a:ea typeface="DM Sans" pitchFamily="34" charset="-122"/>
              <a:cs typeface="DM Sans" pitchFamily="34" charset="-120"/>
              <a:sym typeface="Arial"/>
            </a:endParaRPr>
          </a:p>
          <a:p>
            <a:pPr marL="228594" indent="-228594" defTabSz="1219170">
              <a:lnSpc>
                <a:spcPts val="1848"/>
              </a:lnSpc>
              <a:buClr>
                <a:srgbClr val="000000"/>
              </a:buClr>
              <a:buSzPct val="100000"/>
              <a:buFont typeface="Arial" panose="020B0604020202020204" pitchFamily="34" charset="0"/>
              <a:buChar char="•"/>
              <a:defRPr/>
            </a:pPr>
            <a:r>
              <a:rPr lang="en-US" sz="1400" kern="0" spc="-28" dirty="0">
                <a:solidFill>
                  <a:srgbClr val="01240E">
                    <a:alpha val="99000"/>
                  </a:srgbClr>
                </a:solidFill>
                <a:latin typeface="DM Sans"/>
                <a:ea typeface="DM Sans" pitchFamily="34" charset="-122"/>
                <a:cs typeface="DM Sans" pitchFamily="34" charset="-120"/>
                <a:sym typeface="Arial"/>
              </a:rPr>
              <a:t>It’s not about replacing what you already do</a:t>
            </a:r>
          </a:p>
          <a:p>
            <a:pPr marL="228594" indent="-228594" defTabSz="1219170">
              <a:lnSpc>
                <a:spcPts val="1848"/>
              </a:lnSpc>
              <a:buClr>
                <a:srgbClr val="000000"/>
              </a:buClr>
              <a:buSzPct val="100000"/>
              <a:buFont typeface="Arial" panose="020B0604020202020204" pitchFamily="34" charset="0"/>
              <a:buChar char="•"/>
              <a:defRPr/>
            </a:pPr>
            <a:endParaRPr lang="en-US" sz="1400" kern="0" spc="-28" dirty="0">
              <a:solidFill>
                <a:srgbClr val="01240E">
                  <a:alpha val="99000"/>
                </a:srgbClr>
              </a:solidFill>
              <a:latin typeface="DM Sans"/>
              <a:ea typeface="DM Sans" pitchFamily="34" charset="-122"/>
              <a:cs typeface="DM Sans" pitchFamily="34" charset="-120"/>
              <a:sym typeface="Arial"/>
            </a:endParaRPr>
          </a:p>
          <a:p>
            <a:pPr defTabSz="1219170">
              <a:lnSpc>
                <a:spcPts val="1848"/>
              </a:lnSpc>
              <a:buClr>
                <a:srgbClr val="000000"/>
              </a:buClr>
              <a:buSzPct val="100000"/>
              <a:defRPr/>
            </a:pPr>
            <a:endParaRPr lang="en-US" sz="1400" kern="0" spc="-28" dirty="0">
              <a:solidFill>
                <a:srgbClr val="01240E">
                  <a:alpha val="99000"/>
                </a:srgbClr>
              </a:solidFill>
              <a:latin typeface="DM Sans"/>
              <a:ea typeface="DM Sans" pitchFamily="34" charset="-122"/>
              <a:cs typeface="DM Sans" pitchFamily="34" charset="-120"/>
              <a:sym typeface="Arial"/>
            </a:endParaRPr>
          </a:p>
          <a:p>
            <a:pPr defTabSz="1219170">
              <a:lnSpc>
                <a:spcPts val="1848"/>
              </a:lnSpc>
              <a:buClr>
                <a:srgbClr val="000000"/>
              </a:buClr>
              <a:defRPr/>
            </a:pPr>
            <a:endParaRPr lang="en-US" sz="1400" kern="0" spc="-28" dirty="0">
              <a:solidFill>
                <a:srgbClr val="01240E">
                  <a:alpha val="99000"/>
                </a:srgbClr>
              </a:solidFill>
              <a:latin typeface="DM Sans"/>
              <a:ea typeface="DM Sans" pitchFamily="34" charset="-122"/>
              <a:cs typeface="DM Sans" pitchFamily="34" charset="-120"/>
              <a:sym typeface="Arial"/>
            </a:endParaRPr>
          </a:p>
        </p:txBody>
      </p:sp>
      <p:sp>
        <p:nvSpPr>
          <p:cNvPr id="15" name="Thought Bubble: Cloud 14">
            <a:extLst>
              <a:ext uri="{FF2B5EF4-FFF2-40B4-BE49-F238E27FC236}">
                <a16:creationId xmlns:a16="http://schemas.microsoft.com/office/drawing/2014/main" id="{18F3117C-8D51-A6C8-FAF2-3B025B078E33}"/>
              </a:ext>
            </a:extLst>
          </p:cNvPr>
          <p:cNvSpPr/>
          <p:nvPr/>
        </p:nvSpPr>
        <p:spPr>
          <a:xfrm>
            <a:off x="8811247" y="155155"/>
            <a:ext cx="2961653" cy="2242391"/>
          </a:xfrm>
          <a:prstGeom prst="cloudCallout">
            <a:avLst/>
          </a:prstGeom>
          <a:solidFill>
            <a:srgbClr val="199044"/>
          </a:solidFill>
          <a:ln>
            <a:solidFill>
              <a:srgbClr val="19904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en-GB" sz="2400">
              <a:solidFill>
                <a:prstClr val="white"/>
              </a:solidFill>
              <a:latin typeface="Calibri" panose="020F0502020204030204"/>
            </a:endParaRPr>
          </a:p>
        </p:txBody>
      </p:sp>
      <p:sp>
        <p:nvSpPr>
          <p:cNvPr id="16" name="TextBox 15">
            <a:extLst>
              <a:ext uri="{FF2B5EF4-FFF2-40B4-BE49-F238E27FC236}">
                <a16:creationId xmlns:a16="http://schemas.microsoft.com/office/drawing/2014/main" id="{802C3B62-4168-D0E4-4DF6-57D70251F362}"/>
              </a:ext>
            </a:extLst>
          </p:cNvPr>
          <p:cNvSpPr txBox="1"/>
          <p:nvPr/>
        </p:nvSpPr>
        <p:spPr>
          <a:xfrm>
            <a:off x="7590302" y="2951089"/>
            <a:ext cx="3895188" cy="748795"/>
          </a:xfrm>
          <a:prstGeom prst="rect">
            <a:avLst/>
          </a:prstGeom>
          <a:noFill/>
        </p:spPr>
        <p:txBody>
          <a:bodyPr wrap="square" rtlCol="0">
            <a:spAutoFit/>
          </a:bodyPr>
          <a:lstStyle/>
          <a:p>
            <a:pPr defTabSz="1219170"/>
            <a:r>
              <a:rPr lang="en-GB" sz="2133" dirty="0">
                <a:solidFill>
                  <a:prstClr val="black"/>
                </a:solidFill>
                <a:latin typeface="DM Sans" pitchFamily="2" charset="0"/>
              </a:rPr>
              <a:t>“That sounds great, but what is it going to cost me?”</a:t>
            </a:r>
          </a:p>
        </p:txBody>
      </p:sp>
      <p:graphicFrame>
        <p:nvGraphicFramePr>
          <p:cNvPr id="17" name="Diagram 16">
            <a:extLst>
              <a:ext uri="{FF2B5EF4-FFF2-40B4-BE49-F238E27FC236}">
                <a16:creationId xmlns:a16="http://schemas.microsoft.com/office/drawing/2014/main" id="{A341CC2D-8B3E-89D8-D9E9-29CC7D3515C9}"/>
              </a:ext>
            </a:extLst>
          </p:cNvPr>
          <p:cNvGraphicFramePr/>
          <p:nvPr/>
        </p:nvGraphicFramePr>
        <p:xfrm>
          <a:off x="7733106" y="3928683"/>
          <a:ext cx="3628239" cy="23730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86729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14" grpId="0" animBg="1"/>
      <p:bldP spid="15" grpId="0" animBg="1"/>
      <p:bldP spid="16" grpId="0"/>
      <p:bldGraphic spid="17"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1240E"/>
        </a:solidFill>
        <a:effectLst/>
      </p:bgPr>
    </p:bg>
    <p:spTree>
      <p:nvGrpSpPr>
        <p:cNvPr id="1" name="">
          <a:extLst>
            <a:ext uri="{FF2B5EF4-FFF2-40B4-BE49-F238E27FC236}">
              <a16:creationId xmlns:a16="http://schemas.microsoft.com/office/drawing/2014/main" id="{B2C716DC-81FE-C0BA-CD86-C29439029316}"/>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885AA20A-0B3C-A679-92BE-87F1E82C1825}"/>
              </a:ext>
            </a:extLst>
          </p:cNvPr>
          <p:cNvSpPr/>
          <p:nvPr/>
        </p:nvSpPr>
        <p:spPr>
          <a:xfrm>
            <a:off x="-1777504" y="875780"/>
            <a:ext cx="13291872" cy="479529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3" name="Shape 1">
            <a:extLst>
              <a:ext uri="{FF2B5EF4-FFF2-40B4-BE49-F238E27FC236}">
                <a16:creationId xmlns:a16="http://schemas.microsoft.com/office/drawing/2014/main" id="{1684971A-FD43-5387-BC10-3AE00FE51A3A}"/>
              </a:ext>
            </a:extLst>
          </p:cNvPr>
          <p:cNvSpPr/>
          <p:nvPr/>
        </p:nvSpPr>
        <p:spPr>
          <a:xfrm>
            <a:off x="-1777503" y="875780"/>
            <a:ext cx="2363876" cy="479529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4" name="Shape 2">
            <a:extLst>
              <a:ext uri="{FF2B5EF4-FFF2-40B4-BE49-F238E27FC236}">
                <a16:creationId xmlns:a16="http://schemas.microsoft.com/office/drawing/2014/main" id="{62380A8B-045C-DCAE-AFDC-53E07A73DED9}"/>
              </a:ext>
            </a:extLst>
          </p:cNvPr>
          <p:cNvSpPr/>
          <p:nvPr/>
        </p:nvSpPr>
        <p:spPr>
          <a:xfrm>
            <a:off x="954498" y="875780"/>
            <a:ext cx="2363876" cy="479529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5" name="Shape 3">
            <a:extLst>
              <a:ext uri="{FF2B5EF4-FFF2-40B4-BE49-F238E27FC236}">
                <a16:creationId xmlns:a16="http://schemas.microsoft.com/office/drawing/2014/main" id="{955DE069-D20A-A179-2521-9166EC9154DC}"/>
              </a:ext>
            </a:extLst>
          </p:cNvPr>
          <p:cNvSpPr/>
          <p:nvPr/>
        </p:nvSpPr>
        <p:spPr>
          <a:xfrm>
            <a:off x="3686493" y="875780"/>
            <a:ext cx="2363876" cy="479529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6" name="Shape 4">
            <a:extLst>
              <a:ext uri="{FF2B5EF4-FFF2-40B4-BE49-F238E27FC236}">
                <a16:creationId xmlns:a16="http://schemas.microsoft.com/office/drawing/2014/main" id="{72A9FFA3-D560-A3D9-9CF3-F9DAD88879B5}"/>
              </a:ext>
            </a:extLst>
          </p:cNvPr>
          <p:cNvSpPr/>
          <p:nvPr/>
        </p:nvSpPr>
        <p:spPr>
          <a:xfrm>
            <a:off x="6418493" y="875780"/>
            <a:ext cx="2363876" cy="479529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7" name="Shape 5">
            <a:extLst>
              <a:ext uri="{FF2B5EF4-FFF2-40B4-BE49-F238E27FC236}">
                <a16:creationId xmlns:a16="http://schemas.microsoft.com/office/drawing/2014/main" id="{FCE04517-26C9-3BAD-780E-E0E5A9851486}"/>
              </a:ext>
            </a:extLst>
          </p:cNvPr>
          <p:cNvSpPr/>
          <p:nvPr/>
        </p:nvSpPr>
        <p:spPr>
          <a:xfrm>
            <a:off x="9150494" y="875780"/>
            <a:ext cx="2363876" cy="4795291"/>
          </a:xfrm>
          <a:prstGeom prst="rect">
            <a:avLst/>
          </a:prstGeom>
          <a:noFill/>
          <a:ln/>
        </p:spPr>
        <p:txBody>
          <a:bodyPr/>
          <a:lstStyle/>
          <a:p>
            <a:pPr defTabSz="1219170">
              <a:defRPr/>
            </a:pPr>
            <a:endParaRPr lang="en-GB" sz="2400">
              <a:solidFill>
                <a:prstClr val="black"/>
              </a:solidFill>
              <a:latin typeface="Calibri" panose="020F0502020204030204"/>
            </a:endParaRPr>
          </a:p>
        </p:txBody>
      </p:sp>
      <p:sp>
        <p:nvSpPr>
          <p:cNvPr id="19" name="Text 7">
            <a:extLst>
              <a:ext uri="{FF2B5EF4-FFF2-40B4-BE49-F238E27FC236}">
                <a16:creationId xmlns:a16="http://schemas.microsoft.com/office/drawing/2014/main" id="{588688EE-5D9D-F352-66CC-B9936492DF70}"/>
              </a:ext>
            </a:extLst>
          </p:cNvPr>
          <p:cNvSpPr/>
          <p:nvPr/>
        </p:nvSpPr>
        <p:spPr>
          <a:xfrm>
            <a:off x="494933" y="3273425"/>
            <a:ext cx="9283700" cy="457200"/>
          </a:xfrm>
          <a:prstGeom prst="rect">
            <a:avLst/>
          </a:prstGeom>
          <a:noFill/>
          <a:ln/>
        </p:spPr>
        <p:txBody>
          <a:bodyPr wrap="square" rtlCol="0" anchor="ctr"/>
          <a:lstStyle/>
          <a:p>
            <a:pPr defTabSz="1219170">
              <a:lnSpc>
                <a:spcPts val="3600"/>
              </a:lnSpc>
              <a:defRPr/>
            </a:pPr>
            <a:r>
              <a:rPr lang="en-GB" sz="3000" b="1" kern="0" spc="-60" dirty="0">
                <a:solidFill>
                  <a:srgbClr val="FBFAF9">
                    <a:alpha val="99000"/>
                  </a:srgbClr>
                </a:solidFill>
                <a:latin typeface="DM Sans" pitchFamily="34" charset="0"/>
                <a:ea typeface="DM Sans" pitchFamily="34" charset="-122"/>
                <a:cs typeface="DM Sans" pitchFamily="34" charset="-120"/>
              </a:rPr>
              <a:t>Introducing Virty: The Commercial Model</a:t>
            </a:r>
          </a:p>
          <a:p>
            <a:pPr defTabSz="1219170">
              <a:lnSpc>
                <a:spcPts val="3600"/>
              </a:lnSpc>
              <a:defRPr/>
            </a:pPr>
            <a:endParaRPr lang="en-GB" sz="3000" b="1" kern="0" spc="-60" dirty="0">
              <a:solidFill>
                <a:srgbClr val="FBFAF9">
                  <a:alpha val="99000"/>
                </a:srgbClr>
              </a:solidFill>
              <a:latin typeface="DM Sans" pitchFamily="34" charset="0"/>
              <a:ea typeface="DM Sans" pitchFamily="34" charset="-122"/>
              <a:cs typeface="DM Sans" pitchFamily="34" charset="-120"/>
            </a:endParaRPr>
          </a:p>
          <a:p>
            <a:pPr defTabSz="1219170">
              <a:lnSpc>
                <a:spcPts val="3600"/>
              </a:lnSpc>
              <a:defRPr/>
            </a:pPr>
            <a:endParaRPr lang="en-GB" sz="3000" b="1" kern="0" spc="-60" dirty="0">
              <a:solidFill>
                <a:srgbClr val="FBFAF9">
                  <a:alpha val="99000"/>
                </a:srgbClr>
              </a:solidFill>
              <a:latin typeface="DM Sans" pitchFamily="34" charset="0"/>
              <a:ea typeface="DM Sans" pitchFamily="34" charset="-122"/>
              <a:cs typeface="DM Sans" pitchFamily="34" charset="-120"/>
            </a:endParaRPr>
          </a:p>
          <a:p>
            <a:pPr defTabSz="1219170">
              <a:lnSpc>
                <a:spcPts val="3600"/>
              </a:lnSpc>
              <a:defRPr/>
            </a:pPr>
            <a:r>
              <a:rPr lang="en-GB" sz="3000" b="1" kern="0" spc="-60" dirty="0">
                <a:solidFill>
                  <a:srgbClr val="FBFAF9">
                    <a:alpha val="99000"/>
                  </a:srgbClr>
                </a:solidFill>
                <a:latin typeface="DM Sans" pitchFamily="34" charset="0"/>
                <a:ea typeface="DM Sans" pitchFamily="34" charset="-122"/>
                <a:cs typeface="DM Sans" pitchFamily="34" charset="-120"/>
              </a:rPr>
              <a:t>Lucy Beazley</a:t>
            </a:r>
          </a:p>
          <a:p>
            <a:pPr defTabSz="1219170">
              <a:lnSpc>
                <a:spcPts val="3600"/>
              </a:lnSpc>
              <a:defRPr/>
            </a:pPr>
            <a:endParaRPr lang="en-GB" sz="3000" b="1" kern="0" spc="-60" dirty="0">
              <a:solidFill>
                <a:srgbClr val="FBFAF9">
                  <a:alpha val="99000"/>
                </a:srgbClr>
              </a:solidFill>
              <a:latin typeface="DM Sans" pitchFamily="34" charset="0"/>
              <a:ea typeface="DM Sans" pitchFamily="34" charset="-122"/>
              <a:cs typeface="DM Sans" pitchFamily="34" charset="-120"/>
            </a:endParaRPr>
          </a:p>
        </p:txBody>
      </p:sp>
    </p:spTree>
    <p:extLst>
      <p:ext uri="{BB962C8B-B14F-4D97-AF65-F5344CB8AC3E}">
        <p14:creationId xmlns:p14="http://schemas.microsoft.com/office/powerpoint/2010/main" val="3816397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IQVIA_V4.0.0">
  <a:themeElements>
    <a:clrScheme name="IQVIA_2026">
      <a:dk1>
        <a:srgbClr val="2B3A42"/>
      </a:dk1>
      <a:lt1>
        <a:srgbClr val="FFFFFF"/>
      </a:lt1>
      <a:dk2>
        <a:srgbClr val="140B42"/>
      </a:dk2>
      <a:lt2>
        <a:srgbClr val="F3F3F3"/>
      </a:lt2>
      <a:accent1>
        <a:srgbClr val="00A3E0"/>
      </a:accent1>
      <a:accent2>
        <a:srgbClr val="005587"/>
      </a:accent2>
      <a:accent3>
        <a:srgbClr val="00BFB3"/>
      </a:accent3>
      <a:accent4>
        <a:srgbClr val="008F86"/>
      </a:accent4>
      <a:accent5>
        <a:srgbClr val="43B02A"/>
      </a:accent5>
      <a:accent6>
        <a:srgbClr val="027223"/>
      </a:accent6>
      <a:hlink>
        <a:srgbClr val="00A3E0"/>
      </a:hlink>
      <a:folHlink>
        <a:srgbClr val="005587"/>
      </a:folHlink>
    </a:clrScheme>
    <a:fontScheme name="IQVIA_2026">
      <a:majorFont>
        <a:latin typeface="Noto Sa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defPPr>
      </a:lstStyle>
    </a:txDef>
  </a:objectDefaults>
  <a:extraClrSchemeLst/>
  <a:extLst>
    <a:ext uri="{05A4C25C-085E-4340-85A3-A5531E510DB2}">
      <thm15:themeFamily xmlns:thm15="http://schemas.microsoft.com/office/thememl/2012/main" name="Presentation3" id="{32C60C94-CEA8-46C2-BF76-484874A62A87}" vid="{5FEE722D-C188-404F-AAAA-6E3794A31C2F}"/>
    </a:ext>
  </a:extLst>
</a:theme>
</file>

<file path=ppt/theme/theme5.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FBF47825-BA15-42F8-B8DD-474EE679720A}" vid="{51500039-90C3-4EE0-82E8-5B46344F180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1980</Words>
  <Application>Microsoft Office PowerPoint</Application>
  <PresentationFormat>Widescreen</PresentationFormat>
  <Paragraphs>378</Paragraphs>
  <Slides>20</Slides>
  <Notes>20</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38" baseType="lpstr">
      <vt:lpstr>Aptos</vt:lpstr>
      <vt:lpstr>Arial</vt:lpstr>
      <vt:lpstr>Arial Narrow</vt:lpstr>
      <vt:lpstr>Calibri</vt:lpstr>
      <vt:lpstr>DM Sans</vt:lpstr>
      <vt:lpstr>Georgia</vt:lpstr>
      <vt:lpstr>Noto Sans</vt:lpstr>
      <vt:lpstr>Noto Sans Light</vt:lpstr>
      <vt:lpstr>System Font Regular</vt:lpstr>
      <vt:lpstr>Trebuchet MS</vt:lpstr>
      <vt:lpstr>Wingdings</vt:lpstr>
      <vt:lpstr>Wingdings 3</vt:lpstr>
      <vt:lpstr>Facet</vt:lpstr>
      <vt:lpstr>1_Office Theme</vt:lpstr>
      <vt:lpstr>2_Office Theme</vt:lpstr>
      <vt:lpstr>IQVIA_V4.0.0</vt:lpstr>
      <vt:lpstr>IQVIA_V3.0.0</vt:lpstr>
      <vt:lpstr>think-cell Slide</vt:lpstr>
      <vt:lpstr>ONE TEAM IN A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ngrid Cruickshank</dc:creator>
  <cp:lastModifiedBy>Ann-Marie Carrey</cp:lastModifiedBy>
  <cp:revision>6</cp:revision>
  <dcterms:created xsi:type="dcterms:W3CDTF">2026-06-16T13:59:37Z</dcterms:created>
  <dcterms:modified xsi:type="dcterms:W3CDTF">2026-07-01T15:03:29Z</dcterms:modified>
</cp:coreProperties>
</file>